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48" r:id="rId1"/>
  </p:sldMasterIdLst>
  <p:notesMasterIdLst>
    <p:notesMasterId r:id="rId8"/>
  </p:notesMasterIdLst>
  <p:sldIdLst>
    <p:sldId id="311" r:id="rId2"/>
    <p:sldId id="329" r:id="rId3"/>
    <p:sldId id="333" r:id="rId4"/>
    <p:sldId id="331" r:id="rId5"/>
    <p:sldId id="334" r:id="rId6"/>
    <p:sldId id="344" r:id="rId7"/>
  </p:sldIdLst>
  <p:sldSz cx="12190413" cy="6858000"/>
  <p:notesSz cx="6797675" cy="9928225"/>
  <p:embeddedFontLst>
    <p:embeddedFont>
      <p:font typeface="Calibri" panose="020F0502020204030204" pitchFamily="34" charset="0"/>
      <p:regular r:id="rId9"/>
      <p:bold r:id="rId10"/>
      <p:italic r:id="rId11"/>
      <p:boldItalic r:id="rId12"/>
    </p:embeddedFont>
    <p:embeddedFont>
      <p:font typeface="Open Sans" panose="020B0606030504020204" pitchFamily="34" charset="0"/>
      <p:regular r:id="rId13"/>
      <p:bold r:id="rId14"/>
      <p:italic r:id="rId15"/>
      <p:boldItalic r:id="rId16"/>
    </p:embeddedFont>
  </p:embeddedFontLst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 userDrawn="1">
          <p15:clr>
            <a:srgbClr val="A4A3A4"/>
          </p15:clr>
        </p15:guide>
        <p15:guide id="2" orient="horz" pos="4020">
          <p15:clr>
            <a:srgbClr val="A4A3A4"/>
          </p15:clr>
        </p15:guide>
        <p15:guide id="3" pos="624" userDrawn="1">
          <p15:clr>
            <a:srgbClr val="A4A3A4"/>
          </p15:clr>
        </p15:guide>
        <p15:guide id="4" pos="7128" userDrawn="1">
          <p15:clr>
            <a:srgbClr val="A4A3A4"/>
          </p15:clr>
        </p15:guide>
        <p15:guide id="5" pos="5450" userDrawn="1">
          <p15:clr>
            <a:srgbClr val="A4A3A4"/>
          </p15:clr>
        </p15:guide>
        <p15:guide id="6" pos="3816" userDrawn="1">
          <p15:clr>
            <a:srgbClr val="A4A3A4"/>
          </p15:clr>
        </p15:guide>
        <p15:guide id="7" pos="22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>
          <p15:clr>
            <a:srgbClr val="A4A3A4"/>
          </p15:clr>
        </p15:guide>
        <p15:guide id="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46AA"/>
    <a:srgbClr val="BFD1E9"/>
    <a:srgbClr val="87B8FF"/>
    <a:srgbClr val="3A73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223" autoAdjust="0"/>
    <p:restoredTop sz="95329" autoAdjust="0"/>
  </p:normalViewPr>
  <p:slideViewPr>
    <p:cSldViewPr snapToGrid="0" snapToObjects="1">
      <p:cViewPr varScale="1">
        <p:scale>
          <a:sx n="82" d="100"/>
          <a:sy n="82" d="100"/>
        </p:scale>
        <p:origin x="184" y="448"/>
      </p:cViewPr>
      <p:guideLst>
        <p:guide orient="horz" pos="845"/>
        <p:guide orient="horz" pos="4020"/>
        <p:guide pos="624"/>
        <p:guide pos="7128"/>
        <p:guide pos="5450"/>
        <p:guide pos="3816"/>
        <p:guide pos="22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59" d="100"/>
          <a:sy n="59" d="100"/>
        </p:scale>
        <p:origin x="-2916" y="-84"/>
      </p:cViewPr>
      <p:guideLst>
        <p:guide orient="horz"/>
        <p:guide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5.fntdata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font" Target="fonts/font4.fntdata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font" Target="fonts/font8.fntdata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font" Target="fonts/font7.fntdata"/><Relationship Id="rId10" Type="http://schemas.openxmlformats.org/officeDocument/2006/relationships/font" Target="fonts/font2.fntdata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0" y="0"/>
            <a:ext cx="6797675" cy="3825875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txBody>
          <a:bodyPr vert="horz" lIns="90965" tIns="45482" rIns="90965" bIns="45482" rtlCol="0" anchor="ctr"/>
          <a:lstStyle/>
          <a:p>
            <a:endParaRPr lang="en-US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592134" y="4763525"/>
            <a:ext cx="5927634" cy="486323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068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600"/>
      </a:spcBef>
      <a:defRPr sz="1000" kern="1200">
        <a:solidFill>
          <a:schemeClr val="tx1"/>
        </a:solidFill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</a:defRPr>
    </a:lvl1pPr>
    <a:lvl2pPr marL="144000" indent="-144000" algn="l" defTabSz="914400" rtl="0" eaLnBrk="1" latinLnBrk="0" hangingPunct="1">
      <a:spcBef>
        <a:spcPts val="600"/>
      </a:spcBef>
      <a:buClr>
        <a:schemeClr val="tx1"/>
      </a:buClr>
      <a:buFont typeface="Arial" pitchFamily="34" charset="0"/>
      <a:buChar char="•"/>
      <a:defRPr sz="1000" kern="1200">
        <a:solidFill>
          <a:schemeClr val="tx1"/>
        </a:solidFill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</a:defRPr>
    </a:lvl2pPr>
    <a:lvl3pPr marL="288000" indent="-144000" algn="l" defTabSz="914400" rtl="0" eaLnBrk="1" latinLnBrk="0" hangingPunct="1">
      <a:spcBef>
        <a:spcPts val="600"/>
      </a:spcBef>
      <a:buClr>
        <a:schemeClr val="tx1"/>
      </a:buClr>
      <a:buFont typeface="Arial" pitchFamily="34" charset="0"/>
      <a:buChar char="•"/>
      <a:defRPr sz="1000" kern="1200">
        <a:solidFill>
          <a:schemeClr val="tx1"/>
        </a:solidFill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AYBACK Light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AYBACK Light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03014178-468F-496E-898E-40E501AC8294}" type="slidenum">
              <a:rPr lang="en-CA" smtClean="0"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167189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03014178-468F-496E-898E-40E501AC8294}" type="slidenum">
              <a:rPr lang="en-CA" smtClean="0"/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589850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rst pag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354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24"/>
            <a:ext cx="12193838" cy="685607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981075" y="2894572"/>
            <a:ext cx="10226675" cy="664797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TITELMASTERFORMAT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981075" y="3682691"/>
            <a:ext cx="1022667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200414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and 2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5740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5"/>
          <p:cNvSpPr>
            <a:spLocks noGrp="1"/>
          </p:cNvSpPr>
          <p:nvPr>
            <p:ph sz="quarter" idx="18" hasCustomPrompt="1"/>
          </p:nvPr>
        </p:nvSpPr>
        <p:spPr bwMode="gray">
          <a:xfrm>
            <a:off x="981075" y="1341439"/>
            <a:ext cx="4937125" cy="5040312"/>
          </a:xfrm>
          <a:prstGeom prst="rect">
            <a:avLst/>
          </a:prstGeom>
        </p:spPr>
        <p:txBody>
          <a:bodyPr lIns="0" r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 dirty="0"/>
              <a:t>Erste Ebene (Einrückungen über &gt;Listenebene erhöhen&lt;)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18" name="Inhaltsplatzhalter 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70625" y="1341439"/>
            <a:ext cx="4937125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>
              <a:defRPr lang="de-DE" noProof="0" dirty="0" smtClean="0"/>
            </a:lvl3pPr>
            <a:lvl4pPr>
              <a:defRPr lang="de-DE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lang="de-DE" noProof="0" dirty="0"/>
              <a:t>Erste Ebene (Einrückungen über &gt;Listenebene erhöhen&lt;)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12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0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65815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, Tex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23948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81075" y="6489032"/>
            <a:ext cx="801501" cy="123111"/>
          </a:xfrm>
          <a:prstGeom prst="rect">
            <a:avLst/>
          </a:prstGeo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tabLst/>
              <a:defRPr sz="800" b="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pPr lvl="0"/>
            <a:r>
              <a:rPr lang="en-US" noProof="0" dirty="0"/>
              <a:t>Source/Footnote</a:t>
            </a: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7" hasCustomPrompt="1"/>
          </p:nvPr>
        </p:nvSpPr>
        <p:spPr bwMode="gray">
          <a:xfrm>
            <a:off x="981076" y="1736812"/>
            <a:ext cx="10226674" cy="46449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oder Inhalt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981075" y="1341438"/>
            <a:ext cx="7669213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3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61463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482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0" y="1341439"/>
            <a:ext cx="12190413" cy="5040312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7" name="Inhaltsplatzhalter 16"/>
          <p:cNvSpPr>
            <a:spLocks noGrp="1"/>
          </p:cNvSpPr>
          <p:nvPr>
            <p:ph sz="quarter" idx="10" hasCustomPrompt="1"/>
          </p:nvPr>
        </p:nvSpPr>
        <p:spPr bwMode="gray">
          <a:xfrm>
            <a:off x="981076" y="1613422"/>
            <a:ext cx="7670800" cy="449634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oder Inhalt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45409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and 2 Tex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9621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5"/>
          <p:cNvSpPr>
            <a:spLocks noGrp="1"/>
          </p:cNvSpPr>
          <p:nvPr>
            <p:ph sz="quarter" idx="18" hasCustomPrompt="1"/>
          </p:nvPr>
        </p:nvSpPr>
        <p:spPr bwMode="gray">
          <a:xfrm>
            <a:off x="981075" y="1341439"/>
            <a:ext cx="4937125" cy="5040312"/>
          </a:xfrm>
          <a:prstGeom prst="rect">
            <a:avLst/>
          </a:prstGeom>
          <a:solidFill>
            <a:schemeClr val="accent4"/>
          </a:solidFill>
        </p:spPr>
        <p:txBody>
          <a:bodyPr lIns="252000" tIns="144000" rIns="144000" bIns="144000"/>
          <a:lstStyle>
            <a:lvl1pPr marL="0" indent="0">
              <a:lnSpc>
                <a:spcPct val="90000"/>
              </a:lnSpc>
              <a:buFontTx/>
              <a:buNone/>
              <a:defRPr sz="3600">
                <a:solidFill>
                  <a:schemeClr val="accent1"/>
                </a:solidFill>
                <a:latin typeface="+mj-lt"/>
              </a:defRPr>
            </a:lvl1pPr>
            <a:lvl2pPr marL="1588" indent="0">
              <a:lnSpc>
                <a:spcPct val="90000"/>
              </a:lnSpc>
              <a:spcBef>
                <a:spcPts val="1200"/>
              </a:spcBef>
              <a:buNone/>
              <a:defRPr sz="3200">
                <a:solidFill>
                  <a:schemeClr val="accent1"/>
                </a:solidFill>
                <a:latin typeface="+mn-lt"/>
              </a:defRPr>
            </a:lvl2pPr>
            <a:lvl3pPr marL="182563" indent="-179388">
              <a:spcBef>
                <a:spcPts val="1200"/>
              </a:spcBef>
              <a:defRPr/>
            </a:lvl3pPr>
            <a:lvl4pPr marL="358775" indent="-179388">
              <a:spcBef>
                <a:spcPts val="600"/>
              </a:spcBef>
              <a:defRPr/>
            </a:lvl4pPr>
            <a:lvl5pPr>
              <a:defRPr/>
            </a:lvl5pPr>
          </a:lstStyle>
          <a:p>
            <a:pPr lvl="0"/>
            <a:r>
              <a:rPr lang="de-DE" noProof="0" dirty="0"/>
              <a:t>Erste Ebene (kleinere Texte über &gt;Listenebene erhöhen&lt;)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12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10" name="Inhaltsplatzhalter 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70625" y="1341439"/>
            <a:ext cx="4937125" cy="5040312"/>
          </a:xfrm>
          <a:prstGeom prst="rect">
            <a:avLst/>
          </a:prstGeom>
          <a:noFill/>
        </p:spPr>
        <p:txBody>
          <a:bodyPr lIns="0" tIns="144000" rIns="144000" bIns="144000"/>
          <a:lstStyle>
            <a:lvl1pPr marL="0" indent="0">
              <a:lnSpc>
                <a:spcPct val="90000"/>
              </a:lnSpc>
              <a:buFontTx/>
              <a:buNone/>
              <a:defRPr sz="3600">
                <a:solidFill>
                  <a:schemeClr val="accent1"/>
                </a:solidFill>
                <a:latin typeface="+mj-lt"/>
              </a:defRPr>
            </a:lvl1pPr>
            <a:lvl2pPr marL="1588" indent="0">
              <a:lnSpc>
                <a:spcPct val="90000"/>
              </a:lnSpc>
              <a:spcBef>
                <a:spcPts val="1200"/>
              </a:spcBef>
              <a:buNone/>
              <a:defRPr sz="3200">
                <a:solidFill>
                  <a:schemeClr val="accent1"/>
                </a:solidFill>
                <a:latin typeface="+mn-lt"/>
              </a:defRPr>
            </a:lvl2pPr>
            <a:lvl3pPr marL="182563" indent="-179388">
              <a:spcBef>
                <a:spcPts val="1200"/>
              </a:spcBef>
              <a:defRPr/>
            </a:lvl3pPr>
            <a:lvl4pPr marL="358775" indent="-179388">
              <a:spcBef>
                <a:spcPts val="600"/>
              </a:spcBef>
              <a:defRPr/>
            </a:lvl4pPr>
            <a:lvl5pPr>
              <a:defRPr/>
            </a:lvl5pPr>
          </a:lstStyle>
          <a:p>
            <a:pPr lvl="0"/>
            <a:r>
              <a:rPr lang="de-DE" noProof="0" dirty="0"/>
              <a:t>Erste Ebene (kleinere Texte über &gt;Listenebene erhöhen&lt;)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4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59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45064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126AB79-CD6F-4DB7-A989-5DD29CC7DB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0413" cy="6858000"/>
          </a:xfrm>
          <a:custGeom>
            <a:avLst/>
            <a:gdLst>
              <a:gd name="connsiteX0" fmla="*/ 10583343 w 12190413"/>
              <a:gd name="connsiteY0" fmla="*/ 262891 h 6858000"/>
              <a:gd name="connsiteX1" fmla="*/ 10496550 w 12190413"/>
              <a:gd name="connsiteY1" fmla="*/ 349684 h 6858000"/>
              <a:gd name="connsiteX2" fmla="*/ 10496550 w 12190413"/>
              <a:gd name="connsiteY2" fmla="*/ 732358 h 6858000"/>
              <a:gd name="connsiteX3" fmla="*/ 10583343 w 12190413"/>
              <a:gd name="connsiteY3" fmla="*/ 819151 h 6858000"/>
              <a:gd name="connsiteX4" fmla="*/ 11827077 w 12190413"/>
              <a:gd name="connsiteY4" fmla="*/ 819151 h 6858000"/>
              <a:gd name="connsiteX5" fmla="*/ 11913870 w 12190413"/>
              <a:gd name="connsiteY5" fmla="*/ 732358 h 6858000"/>
              <a:gd name="connsiteX6" fmla="*/ 11913870 w 12190413"/>
              <a:gd name="connsiteY6" fmla="*/ 349684 h 6858000"/>
              <a:gd name="connsiteX7" fmla="*/ 11827077 w 12190413"/>
              <a:gd name="connsiteY7" fmla="*/ 262891 h 6858000"/>
              <a:gd name="connsiteX8" fmla="*/ 0 w 12190413"/>
              <a:gd name="connsiteY8" fmla="*/ 0 h 6858000"/>
              <a:gd name="connsiteX9" fmla="*/ 12190413 w 12190413"/>
              <a:gd name="connsiteY9" fmla="*/ 0 h 6858000"/>
              <a:gd name="connsiteX10" fmla="*/ 12190413 w 12190413"/>
              <a:gd name="connsiteY10" fmla="*/ 6858000 h 6858000"/>
              <a:gd name="connsiteX11" fmla="*/ 0 w 12190413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0413" h="6858000">
                <a:moveTo>
                  <a:pt x="10583343" y="262891"/>
                </a:moveTo>
                <a:cubicBezTo>
                  <a:pt x="10535409" y="262891"/>
                  <a:pt x="10496550" y="301750"/>
                  <a:pt x="10496550" y="349684"/>
                </a:cubicBezTo>
                <a:lnTo>
                  <a:pt x="10496550" y="732358"/>
                </a:lnTo>
                <a:cubicBezTo>
                  <a:pt x="10496550" y="780292"/>
                  <a:pt x="10535409" y="819151"/>
                  <a:pt x="10583343" y="819151"/>
                </a:cubicBezTo>
                <a:lnTo>
                  <a:pt x="11827077" y="819151"/>
                </a:lnTo>
                <a:cubicBezTo>
                  <a:pt x="11875011" y="819151"/>
                  <a:pt x="11913870" y="780292"/>
                  <a:pt x="11913870" y="732358"/>
                </a:cubicBezTo>
                <a:lnTo>
                  <a:pt x="11913870" y="349684"/>
                </a:lnTo>
                <a:cubicBezTo>
                  <a:pt x="11913870" y="301750"/>
                  <a:pt x="11875011" y="262891"/>
                  <a:pt x="11827077" y="262891"/>
                </a:cubicBezTo>
                <a:close/>
                <a:moveTo>
                  <a:pt x="0" y="0"/>
                </a:moveTo>
                <a:lnTo>
                  <a:pt x="12190413" y="0"/>
                </a:lnTo>
                <a:lnTo>
                  <a:pt x="12190413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 lIns="108000" tIns="108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gray">
          <a:xfrm>
            <a:off x="982663" y="3360751"/>
            <a:ext cx="10225088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9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25019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1/2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730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6378498" y="3535382"/>
            <a:ext cx="4829252" cy="55403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1" y="0"/>
            <a:ext cx="6094412" cy="6858000"/>
          </a:xfrm>
          <a:prstGeom prst="rect">
            <a:avLst/>
          </a:prstGeom>
        </p:spPr>
        <p:txBody>
          <a:bodyPr lIns="108000" tIns="10800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itelplatzhalter 1"/>
          <p:cNvSpPr>
            <a:spLocks noGrp="1"/>
          </p:cNvSpPr>
          <p:nvPr>
            <p:ph type="title" hasCustomPrompt="1"/>
          </p:nvPr>
        </p:nvSpPr>
        <p:spPr bwMode="gray">
          <a:xfrm>
            <a:off x="301085" y="3360744"/>
            <a:ext cx="5509244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ext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1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65832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43011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4CA66F45-25FB-4248-B7AE-CDD2BD524AA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0413" cy="3398851"/>
          </a:xfrm>
          <a:custGeom>
            <a:avLst/>
            <a:gdLst>
              <a:gd name="connsiteX0" fmla="*/ 10583343 w 12190413"/>
              <a:gd name="connsiteY0" fmla="*/ 262891 h 3398851"/>
              <a:gd name="connsiteX1" fmla="*/ 10496550 w 12190413"/>
              <a:gd name="connsiteY1" fmla="*/ 349684 h 3398851"/>
              <a:gd name="connsiteX2" fmla="*/ 10496550 w 12190413"/>
              <a:gd name="connsiteY2" fmla="*/ 732358 h 3398851"/>
              <a:gd name="connsiteX3" fmla="*/ 10583343 w 12190413"/>
              <a:gd name="connsiteY3" fmla="*/ 819151 h 3398851"/>
              <a:gd name="connsiteX4" fmla="*/ 11827077 w 12190413"/>
              <a:gd name="connsiteY4" fmla="*/ 819151 h 3398851"/>
              <a:gd name="connsiteX5" fmla="*/ 11913870 w 12190413"/>
              <a:gd name="connsiteY5" fmla="*/ 732358 h 3398851"/>
              <a:gd name="connsiteX6" fmla="*/ 11913870 w 12190413"/>
              <a:gd name="connsiteY6" fmla="*/ 349684 h 3398851"/>
              <a:gd name="connsiteX7" fmla="*/ 11827077 w 12190413"/>
              <a:gd name="connsiteY7" fmla="*/ 262891 h 3398851"/>
              <a:gd name="connsiteX8" fmla="*/ 0 w 12190413"/>
              <a:gd name="connsiteY8" fmla="*/ 0 h 3398851"/>
              <a:gd name="connsiteX9" fmla="*/ 12190413 w 12190413"/>
              <a:gd name="connsiteY9" fmla="*/ 0 h 3398851"/>
              <a:gd name="connsiteX10" fmla="*/ 12190413 w 12190413"/>
              <a:gd name="connsiteY10" fmla="*/ 3398851 h 3398851"/>
              <a:gd name="connsiteX11" fmla="*/ 0 w 12190413"/>
              <a:gd name="connsiteY11" fmla="*/ 3398851 h 3398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0413" h="3398851">
                <a:moveTo>
                  <a:pt x="10583343" y="262891"/>
                </a:moveTo>
                <a:cubicBezTo>
                  <a:pt x="10535409" y="262891"/>
                  <a:pt x="10496550" y="301750"/>
                  <a:pt x="10496550" y="349684"/>
                </a:cubicBezTo>
                <a:lnTo>
                  <a:pt x="10496550" y="732358"/>
                </a:lnTo>
                <a:cubicBezTo>
                  <a:pt x="10496550" y="780292"/>
                  <a:pt x="10535409" y="819151"/>
                  <a:pt x="10583343" y="819151"/>
                </a:cubicBezTo>
                <a:lnTo>
                  <a:pt x="11827077" y="819151"/>
                </a:lnTo>
                <a:cubicBezTo>
                  <a:pt x="11875011" y="819151"/>
                  <a:pt x="11913870" y="780292"/>
                  <a:pt x="11913870" y="732358"/>
                </a:cubicBezTo>
                <a:lnTo>
                  <a:pt x="11913870" y="349684"/>
                </a:lnTo>
                <a:cubicBezTo>
                  <a:pt x="11913870" y="301750"/>
                  <a:pt x="11875011" y="262891"/>
                  <a:pt x="11827077" y="262891"/>
                </a:cubicBezTo>
                <a:close/>
                <a:moveTo>
                  <a:pt x="0" y="0"/>
                </a:moveTo>
                <a:lnTo>
                  <a:pt x="12190413" y="0"/>
                </a:lnTo>
                <a:lnTo>
                  <a:pt x="12190413" y="3398851"/>
                </a:lnTo>
                <a:lnTo>
                  <a:pt x="0" y="3398851"/>
                </a:lnTo>
                <a:close/>
              </a:path>
            </a:pathLst>
          </a:custGeom>
        </p:spPr>
        <p:txBody>
          <a:bodyPr wrap="square" lIns="108000" tIns="108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gray">
          <a:xfrm>
            <a:off x="982663" y="1468993"/>
            <a:ext cx="10225087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982663" y="3695700"/>
            <a:ext cx="10225087" cy="134498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30000"/>
              </a:lnSpc>
              <a:buNone/>
              <a:defRPr/>
            </a:lvl1pPr>
            <a:lvl2pPr marL="179388" indent="-179388">
              <a:lnSpc>
                <a:spcPct val="100000"/>
              </a:lnSpc>
              <a:defRPr/>
            </a:lvl2pPr>
            <a:lvl3pPr marL="361950" indent="-179388">
              <a:lnSpc>
                <a:spcPct val="100000"/>
              </a:lnSpc>
              <a:defRPr/>
            </a:lvl3pPr>
            <a:lvl4pPr marL="539750" indent="-179388">
              <a:lnSpc>
                <a:spcPct val="100000"/>
              </a:lnSpc>
              <a:defRPr/>
            </a:lvl4pPr>
            <a:lvl5pPr>
              <a:lnSpc>
                <a:spcPct val="13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4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37622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with backgroun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8058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41438"/>
            <a:ext cx="12190412" cy="5040312"/>
          </a:xfrm>
          <a:prstGeom prst="rect">
            <a:avLst/>
          </a:prstGeom>
        </p:spPr>
      </p:pic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17" name="Inhaltsplatzhalter 16"/>
          <p:cNvSpPr>
            <a:spLocks noGrp="1"/>
          </p:cNvSpPr>
          <p:nvPr>
            <p:ph sz="quarter" idx="10" hasCustomPrompt="1"/>
          </p:nvPr>
        </p:nvSpPr>
        <p:spPr bwMode="gray">
          <a:xfrm>
            <a:off x="981076" y="1613422"/>
            <a:ext cx="7670800" cy="449634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oder Inhalt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68487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with background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8184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192" y="1341439"/>
            <a:ext cx="12191209" cy="5040312"/>
          </a:xfrm>
          <a:prstGeom prst="rect">
            <a:avLst/>
          </a:prstGeom>
        </p:spPr>
      </p:pic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17" name="Inhaltsplatzhalter 16"/>
          <p:cNvSpPr>
            <a:spLocks noGrp="1"/>
          </p:cNvSpPr>
          <p:nvPr>
            <p:ph sz="quarter" idx="10" hasCustomPrompt="1"/>
          </p:nvPr>
        </p:nvSpPr>
        <p:spPr bwMode="gray">
          <a:xfrm>
            <a:off x="981076" y="1613422"/>
            <a:ext cx="7670800" cy="449634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oder Inhalt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04594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pag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144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924"/>
            <a:ext cx="12190413" cy="685415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178067" y="1620653"/>
            <a:ext cx="7137633" cy="1015663"/>
          </a:xfrm>
        </p:spPr>
        <p:txBody>
          <a:bodyPr anchor="b"/>
          <a:lstStyle>
            <a:lvl1pPr algn="l">
              <a:defRPr sz="66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4216166" y="3041034"/>
            <a:ext cx="4704809" cy="2667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180612" indent="0">
              <a:buFontTx/>
              <a:buNone/>
              <a:defRPr sz="1600"/>
            </a:lvl2pPr>
            <a:lvl3pPr marL="360000" indent="0">
              <a:buFontTx/>
              <a:buNone/>
              <a:defRPr sz="1600"/>
            </a:lvl3pPr>
            <a:lvl4pPr marL="540612" indent="0">
              <a:buFontTx/>
              <a:buNone/>
              <a:defRPr sz="1600"/>
            </a:lvl4pPr>
            <a:lvl5pPr marL="268288" indent="0">
              <a:buFontTx/>
              <a:buNone/>
              <a:defRPr sz="16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4216166" y="3587442"/>
            <a:ext cx="4704809" cy="1184940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1pPr>
            <a:lvl2pPr marL="180612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2pPr>
            <a:lvl3pPr marL="360000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3pPr>
            <a:lvl4pPr marL="540612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4pPr>
            <a:lvl5pPr marL="268288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0067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r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256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46"/>
            <a:ext cx="12191209" cy="685755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981075" y="2894572"/>
            <a:ext cx="10226675" cy="664797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MASTERFORMAT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981075" y="3682691"/>
            <a:ext cx="1022667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08474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pag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21803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24"/>
            <a:ext cx="12193838" cy="685607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25475" y="913504"/>
            <a:ext cx="10226675" cy="1015663"/>
          </a:xfrm>
        </p:spPr>
        <p:txBody>
          <a:bodyPr/>
          <a:lstStyle>
            <a:lvl1pPr algn="l">
              <a:defRPr sz="66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5499408" y="3473142"/>
            <a:ext cx="3048000" cy="2667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180612" indent="0">
              <a:buFontTx/>
              <a:buNone/>
              <a:defRPr sz="1600"/>
            </a:lvl2pPr>
            <a:lvl3pPr marL="360000" indent="0">
              <a:buFontTx/>
              <a:buNone/>
              <a:defRPr sz="1600"/>
            </a:lvl3pPr>
            <a:lvl4pPr marL="540612" indent="0">
              <a:buFontTx/>
              <a:buNone/>
              <a:defRPr sz="1600"/>
            </a:lvl4pPr>
            <a:lvl5pPr marL="268288" indent="0">
              <a:buFontTx/>
              <a:buNone/>
              <a:defRPr sz="16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5499408" y="4019550"/>
            <a:ext cx="3048000" cy="1184940"/>
          </a:xfr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1pPr>
            <a:lvl2pPr marL="180612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2pPr>
            <a:lvl3pPr marL="360000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3pPr>
            <a:lvl4pPr marL="540612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4pPr>
            <a:lvl5pPr marL="268288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62034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page_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7819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24"/>
            <a:ext cx="12193838" cy="685607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981869" y="2252096"/>
            <a:ext cx="10226675" cy="1015663"/>
          </a:xfrm>
        </p:spPr>
        <p:txBody>
          <a:bodyPr/>
          <a:lstStyle>
            <a:lvl1pPr algn="ctr">
              <a:defRPr sz="66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46430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863043-FEBB-434F-B326-0D9B4BF64F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81A88D-DFBC-4656-984E-AD19F0D248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00751B-B03A-469D-8FDE-5054DEAE89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091" y="6356351"/>
            <a:ext cx="2742843" cy="365125"/>
          </a:xfrm>
          <a:prstGeom prst="rect">
            <a:avLst/>
          </a:prstGeom>
        </p:spPr>
        <p:txBody>
          <a:bodyPr/>
          <a:lstStyle/>
          <a:p>
            <a:fld id="{5D5D356C-8C32-4D9E-A02D-73285086E38D}" type="datetime1">
              <a:rPr lang="en-CA" smtClean="0"/>
              <a:t>2020-02-16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4EE063-785B-481E-87CA-8DFBD46BBB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556835" y="6591775"/>
            <a:ext cx="65" cy="92333"/>
          </a:xfrm>
        </p:spPr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4E75B6-6D4B-4BEC-ABF4-109962511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92668C-3095-4141-9327-F69CBEF31EC8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83715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0547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0413" cy="6381750"/>
          </a:xfrm>
          <a:prstGeom prst="rect">
            <a:avLst/>
          </a:prstGeom>
        </p:spPr>
      </p:pic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1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1490421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3325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5" b="15349"/>
          <a:stretch/>
        </p:blipFill>
        <p:spPr>
          <a:xfrm>
            <a:off x="0" y="0"/>
            <a:ext cx="12195590" cy="6378392"/>
          </a:xfrm>
          <a:prstGeom prst="rect">
            <a:avLst/>
          </a:prstGeom>
        </p:spPr>
      </p:pic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7094467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ag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1177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0413" cy="6364192"/>
          </a:xfrm>
          <a:prstGeom prst="rect">
            <a:avLst/>
          </a:prstGeom>
        </p:spPr>
      </p:pic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2352905" y="2546295"/>
            <a:ext cx="8854845" cy="13542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12" name="Ellipse 11"/>
          <p:cNvSpPr/>
          <p:nvPr userDrawn="1"/>
        </p:nvSpPr>
        <p:spPr bwMode="gray">
          <a:xfrm>
            <a:off x="981074" y="2374604"/>
            <a:ext cx="1014993" cy="1014993"/>
          </a:xfrm>
          <a:prstGeom prst="ellipse">
            <a:avLst/>
          </a:prstGeom>
          <a:noFill/>
          <a:ln w="57150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108000" tIns="72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endParaRPr lang="de-DE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17902" y="2529101"/>
            <a:ext cx="550862" cy="6284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3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63955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8000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0413" cy="6379826"/>
          </a:xfrm>
          <a:prstGeom prst="rect">
            <a:avLst/>
          </a:prstGeom>
        </p:spPr>
      </p:pic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2352905" y="2546295"/>
            <a:ext cx="8854845" cy="13542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12" name="Ellipse 11"/>
          <p:cNvSpPr/>
          <p:nvPr userDrawn="1"/>
        </p:nvSpPr>
        <p:spPr bwMode="gray">
          <a:xfrm>
            <a:off x="981074" y="2374604"/>
            <a:ext cx="1014993" cy="1014993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108000" tIns="72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endParaRPr lang="de-DE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17902" y="2529101"/>
            <a:ext cx="550862" cy="6284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3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1625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8067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0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25741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and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5976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981075" y="1341438"/>
            <a:ext cx="7669213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69759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18305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81075" y="1341439"/>
            <a:ext cx="7669213" cy="504031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3pPr>
              <a:defRPr baseline="0"/>
            </a:lvl3pPr>
            <a:lvl5pPr>
              <a:defRPr/>
            </a:lvl5pPr>
          </a:lstStyle>
          <a:p>
            <a:pPr lvl="0"/>
            <a:r>
              <a:rPr lang="de-DE" noProof="0" dirty="0"/>
              <a:t>Erste Ebene (Einrückungen über &gt;Listenebene erhöhen&lt;)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9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11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68886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055416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8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cxnSp>
        <p:nvCxnSpPr>
          <p:cNvPr id="14" name="Gerade Verbindung 13"/>
          <p:cNvCxnSpPr/>
          <p:nvPr/>
        </p:nvCxnSpPr>
        <p:spPr bwMode="gray">
          <a:xfrm flipH="1">
            <a:off x="-284979" y="1341438"/>
            <a:ext cx="19636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flipH="1">
            <a:off x="-284979" y="6369894"/>
            <a:ext cx="19636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shpGrid" hidden="1"/>
          <p:cNvGrpSpPr/>
          <p:nvPr/>
        </p:nvGrpSpPr>
        <p:grpSpPr bwMode="gray">
          <a:xfrm>
            <a:off x="0" y="0"/>
            <a:ext cx="12190413" cy="6858000"/>
            <a:chOff x="0" y="0"/>
            <a:chExt cx="9906000" cy="6858000"/>
          </a:xfrm>
        </p:grpSpPr>
        <p:sp>
          <p:nvSpPr>
            <p:cNvPr id="25" name="Line 31" hidden="1"/>
            <p:cNvSpPr>
              <a:spLocks noChangeShapeType="1"/>
            </p:cNvSpPr>
            <p:nvPr userDrawn="1"/>
          </p:nvSpPr>
          <p:spPr bwMode="gray">
            <a:xfrm>
              <a:off x="488950" y="0"/>
              <a:ext cx="0" cy="6858000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000" tIns="54000" rIns="54000" bIns="54000"/>
            <a:lstStyle/>
            <a:p>
              <a:endParaRPr lang="en-US" noProof="0"/>
            </a:p>
          </p:txBody>
        </p:sp>
        <p:sp>
          <p:nvSpPr>
            <p:cNvPr id="26" name="Line 32" hidden="1"/>
            <p:cNvSpPr>
              <a:spLocks noChangeShapeType="1"/>
            </p:cNvSpPr>
            <p:nvPr userDrawn="1"/>
          </p:nvSpPr>
          <p:spPr bwMode="gray">
            <a:xfrm>
              <a:off x="0" y="6093296"/>
              <a:ext cx="9906000" cy="0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000" tIns="54000" rIns="54000" bIns="54000"/>
            <a:lstStyle/>
            <a:p>
              <a:endParaRPr lang="en-US" noProof="0"/>
            </a:p>
          </p:txBody>
        </p:sp>
        <p:sp>
          <p:nvSpPr>
            <p:cNvPr id="28" name="Line 34" hidden="1"/>
            <p:cNvSpPr>
              <a:spLocks noChangeShapeType="1"/>
            </p:cNvSpPr>
            <p:nvPr userDrawn="1"/>
          </p:nvSpPr>
          <p:spPr bwMode="gray">
            <a:xfrm>
              <a:off x="0" y="1628800"/>
              <a:ext cx="9906000" cy="0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000" tIns="54000" rIns="54000" bIns="54000"/>
            <a:lstStyle/>
            <a:p>
              <a:endParaRPr lang="en-US" noProof="0"/>
            </a:p>
          </p:txBody>
        </p:sp>
        <p:sp>
          <p:nvSpPr>
            <p:cNvPr id="29" name="Line 35" hidden="1"/>
            <p:cNvSpPr>
              <a:spLocks noChangeShapeType="1"/>
            </p:cNvSpPr>
            <p:nvPr userDrawn="1"/>
          </p:nvSpPr>
          <p:spPr bwMode="gray">
            <a:xfrm>
              <a:off x="9417050" y="0"/>
              <a:ext cx="0" cy="6858000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000" tIns="54000" rIns="54000" bIns="54000"/>
            <a:lstStyle/>
            <a:p>
              <a:endParaRPr lang="en-US" noProof="0"/>
            </a:p>
          </p:txBody>
        </p:sp>
        <p:sp>
          <p:nvSpPr>
            <p:cNvPr id="23" name="Line 34" hidden="1"/>
            <p:cNvSpPr>
              <a:spLocks noChangeShapeType="1"/>
            </p:cNvSpPr>
            <p:nvPr userDrawn="1"/>
          </p:nvSpPr>
          <p:spPr bwMode="gray">
            <a:xfrm>
              <a:off x="0" y="1268760"/>
              <a:ext cx="9906000" cy="0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000" tIns="54000" rIns="54000" bIns="54000"/>
            <a:lstStyle/>
            <a:p>
              <a:endParaRPr lang="en-US" noProof="0"/>
            </a:p>
          </p:txBody>
        </p:sp>
      </p:grpSp>
      <p:grpSp>
        <p:nvGrpSpPr>
          <p:cNvPr id="12" name="Gruppieren 11"/>
          <p:cNvGrpSpPr/>
          <p:nvPr/>
        </p:nvGrpSpPr>
        <p:grpSpPr bwMode="gray">
          <a:xfrm>
            <a:off x="981075" y="-243408"/>
            <a:ext cx="10226675" cy="159568"/>
            <a:chOff x="981075" y="-243408"/>
            <a:chExt cx="10226675" cy="159568"/>
          </a:xfrm>
        </p:grpSpPr>
        <p:cxnSp>
          <p:nvCxnSpPr>
            <p:cNvPr id="18" name="Gerade Verbindung 17"/>
            <p:cNvCxnSpPr/>
            <p:nvPr userDrawn="1"/>
          </p:nvCxnSpPr>
          <p:spPr bwMode="gray">
            <a:xfrm rot="16200000" flipH="1">
              <a:off x="11127966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16200000" flipH="1">
              <a:off x="901291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16200000" flipH="1">
              <a:off x="3458754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16200000" flipH="1">
              <a:off x="6014629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16200000" flipH="1">
              <a:off x="8554049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uppieren 44"/>
          <p:cNvGrpSpPr/>
          <p:nvPr/>
        </p:nvGrpSpPr>
        <p:grpSpPr bwMode="gray">
          <a:xfrm>
            <a:off x="981075" y="6930278"/>
            <a:ext cx="10226675" cy="159568"/>
            <a:chOff x="981075" y="-243408"/>
            <a:chExt cx="10226675" cy="159568"/>
          </a:xfrm>
        </p:grpSpPr>
        <p:cxnSp>
          <p:nvCxnSpPr>
            <p:cNvPr id="46" name="Gerade Verbindung 45"/>
            <p:cNvCxnSpPr/>
            <p:nvPr userDrawn="1"/>
          </p:nvCxnSpPr>
          <p:spPr bwMode="gray">
            <a:xfrm rot="16200000" flipH="1">
              <a:off x="11127966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 rot="16200000" flipH="1">
              <a:off x="901291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16200000" flipH="1">
              <a:off x="3458754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16200000" flipH="1">
              <a:off x="6014629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16200000" flipH="1">
              <a:off x="8554049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1" name="Gerade Verbindung 50"/>
          <p:cNvCxnSpPr/>
          <p:nvPr/>
        </p:nvCxnSpPr>
        <p:spPr bwMode="gray">
          <a:xfrm flipH="1">
            <a:off x="12304748" y="1341438"/>
            <a:ext cx="19636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endParaRPr lang="de-DE" dirty="0"/>
          </a:p>
        </p:txBody>
      </p:sp>
      <p:sp>
        <p:nvSpPr>
          <p:cNvPr id="36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 bwMode="gray">
          <a:xfrm>
            <a:off x="981077" y="1341438"/>
            <a:ext cx="7669212" cy="50403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731974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5" r:id="rId3"/>
    <p:sldLayoutId id="2147483674" r:id="rId4"/>
    <p:sldLayoutId id="2147483664" r:id="rId5"/>
    <p:sldLayoutId id="2147483676" r:id="rId6"/>
    <p:sldLayoutId id="2147483653" r:id="rId7"/>
    <p:sldLayoutId id="2147483670" r:id="rId8"/>
    <p:sldLayoutId id="2147483665" r:id="rId9"/>
    <p:sldLayoutId id="2147483667" r:id="rId10"/>
    <p:sldLayoutId id="2147483650" r:id="rId11"/>
    <p:sldLayoutId id="2147483655" r:id="rId12"/>
    <p:sldLayoutId id="2147483661" r:id="rId13"/>
    <p:sldLayoutId id="2147483671" r:id="rId14"/>
    <p:sldLayoutId id="2147483668" r:id="rId15"/>
    <p:sldLayoutId id="2147483669" r:id="rId16"/>
    <p:sldLayoutId id="2147483677" r:id="rId17"/>
    <p:sldLayoutId id="2147483678" r:id="rId18"/>
    <p:sldLayoutId id="2147483679" r:id="rId19"/>
    <p:sldLayoutId id="2147483659" r:id="rId20"/>
    <p:sldLayoutId id="2147483680" r:id="rId21"/>
    <p:sldLayoutId id="2147483681" r:id="rId2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>
          <a:solidFill>
            <a:srgbClr val="0046AA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360000" indent="-179388" algn="l" defTabSz="914400" rtl="0" eaLnBrk="1" latinLnBrk="0" hangingPunct="1">
        <a:spcBef>
          <a:spcPts val="600"/>
        </a:spcBef>
        <a:buClr>
          <a:schemeClr val="tx1"/>
        </a:buClr>
        <a:buFont typeface="Arial" pitchFamily="34" charset="0"/>
        <a:buChar char="•"/>
        <a:defRPr lang="de-DE" sz="1800" kern="1200" noProof="0" dirty="0" smtClean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540000" indent="-180000" algn="l" defTabSz="914400" rtl="0" eaLnBrk="1" latinLnBrk="0" hangingPunct="1"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720000" indent="-179388" algn="l" defTabSz="914400" rtl="0" eaLnBrk="1" latinLnBrk="0" hangingPunct="1"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lang="de-DE" sz="1800" kern="1200" baseline="0" noProof="0" dirty="0" smtClean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534988" indent="-266700" algn="l" defTabSz="812800" rtl="0" eaLnBrk="1" latinLnBrk="0" hangingPunct="1">
        <a:spcBef>
          <a:spcPts val="4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 userDrawn="1">
          <p15:clr>
            <a:srgbClr val="A4A3A4"/>
          </p15:clr>
        </p15:guide>
        <p15:guide id="2" orient="horz" pos="845" userDrawn="1">
          <p15:clr>
            <a:srgbClr val="A4A3A4"/>
          </p15:clr>
        </p15:guide>
        <p15:guide id="3" orient="horz" pos="4020" userDrawn="1">
          <p15:clr>
            <a:srgbClr val="A4A3A4"/>
          </p15:clr>
        </p15:guide>
        <p15:guide id="4" pos="2229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6" pos="5450" userDrawn="1">
          <p15:clr>
            <a:srgbClr val="A4A3A4"/>
          </p15:clr>
        </p15:guide>
        <p15:guide id="7" pos="70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81768" y="2650209"/>
            <a:ext cx="7157418" cy="3734439"/>
          </a:xfrm>
          <a:prstGeom prst="rect">
            <a:avLst/>
          </a:prstGeom>
          <a:solidFill>
            <a:srgbClr val="002060">
              <a:alpha val="64000"/>
            </a:srgb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CA" sz="4000" dirty="0"/>
          </a:p>
          <a:p>
            <a:endParaRPr lang="en-CA" sz="4000" b="1" dirty="0"/>
          </a:p>
          <a:p>
            <a:r>
              <a:rPr lang="en-CA" sz="4000" dirty="0"/>
              <a:t>CODE FOR VENEZUELA</a:t>
            </a:r>
          </a:p>
          <a:p>
            <a:endParaRPr lang="en-CA" sz="2000" dirty="0"/>
          </a:p>
          <a:p>
            <a:r>
              <a:rPr lang="en-CA" sz="2000"/>
              <a:t>DEVELOPMENT OF </a:t>
            </a:r>
            <a:r>
              <a:rPr lang="en-CA" sz="2000" dirty="0"/>
              <a:t>A DAHSBOARD TO INFORM THE GENERAL PUBLIC AND PRESS</a:t>
            </a:r>
            <a:endParaRPr lang="en-CA" sz="4000" dirty="0"/>
          </a:p>
          <a:p>
            <a:endParaRPr lang="en-CA" sz="4000" dirty="0"/>
          </a:p>
          <a:p>
            <a:r>
              <a:rPr lang="en-CA" sz="2400" dirty="0"/>
              <a:t>Presented by UNKNOWN </a:t>
            </a:r>
          </a:p>
          <a:p>
            <a:r>
              <a:rPr lang="en-CA" sz="2400" dirty="0"/>
              <a:t>Ann-Ting, Darren, Deniz, Vincent– Feb 2020</a:t>
            </a:r>
            <a:endParaRPr lang="en-CA" sz="4000" dirty="0"/>
          </a:p>
          <a:p>
            <a:endParaRPr lang="en-CA" sz="4000" dirty="0"/>
          </a:p>
          <a:p>
            <a:endParaRPr lang="en-CA" sz="4000" dirty="0"/>
          </a:p>
          <a:p>
            <a:pPr algn="ctr"/>
            <a:endParaRPr lang="en-US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92668C-3095-4141-9327-F69CBEF31EC8}" type="slidenum">
              <a:rPr lang="en-CA" smtClean="0"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217999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5E19555-9B84-254E-9FEC-1E9B111CD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075" y="356672"/>
            <a:ext cx="7669213" cy="492443"/>
          </a:xfrm>
        </p:spPr>
        <p:txBody>
          <a:bodyPr/>
          <a:lstStyle/>
          <a:p>
            <a:r>
              <a:rPr lang="en-GB" sz="3200" dirty="0">
                <a:solidFill>
                  <a:schemeClr val="bg2">
                    <a:lumMod val="10000"/>
                  </a:schemeClr>
                </a:solidFill>
              </a:rPr>
              <a:t>Situ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AE80B2-78D6-CB41-987F-03CEC0A32C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1073" y="907914"/>
            <a:ext cx="10161133" cy="307777"/>
          </a:xfrm>
        </p:spPr>
        <p:txBody>
          <a:bodyPr/>
          <a:lstStyle/>
          <a:p>
            <a:r>
              <a:rPr lang="en-GB" sz="2000" dirty="0"/>
              <a:t>State and Quality of Data is a Major Challenge in this Proces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5D354E-9B9B-D841-A8DD-A2D1C11068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B76A6F7-0816-412C-B847-14B91D1FF33F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8BA62A6-4CA0-0F40-A045-E2EFA943066C}"/>
              </a:ext>
            </a:extLst>
          </p:cNvPr>
          <p:cNvGrpSpPr/>
          <p:nvPr/>
        </p:nvGrpSpPr>
        <p:grpSpPr>
          <a:xfrm>
            <a:off x="336973" y="3193614"/>
            <a:ext cx="3650844" cy="1845795"/>
            <a:chOff x="543131" y="3172874"/>
            <a:chExt cx="3651319" cy="1846035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CA33148-F87C-CC41-897E-22052D81FD71}"/>
                </a:ext>
              </a:extLst>
            </p:cNvPr>
            <p:cNvSpPr txBox="1"/>
            <p:nvPr/>
          </p:nvSpPr>
          <p:spPr>
            <a:xfrm>
              <a:off x="543131" y="3172874"/>
              <a:ext cx="3610303" cy="4001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accent1"/>
                  </a:solidFill>
                </a:rPr>
                <a:t>Key Objective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D9D2FC5-DE41-3342-9781-26837190618E}"/>
                </a:ext>
              </a:extLst>
            </p:cNvPr>
            <p:cNvSpPr txBox="1"/>
            <p:nvPr/>
          </p:nvSpPr>
          <p:spPr>
            <a:xfrm>
              <a:off x="584148" y="4095459"/>
              <a:ext cx="3610302" cy="9234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21" indent="-285721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dirty="0"/>
                <a:t>Develop Dashboard with given Data to provide initial healthcare to public information flow</a:t>
              </a:r>
              <a:endParaRPr lang="en-US" sz="900" dirty="0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CF7B9BC-D174-3E45-A310-2E8F01C166F5}"/>
              </a:ext>
            </a:extLst>
          </p:cNvPr>
          <p:cNvGrpSpPr/>
          <p:nvPr/>
        </p:nvGrpSpPr>
        <p:grpSpPr>
          <a:xfrm>
            <a:off x="4324645" y="3193611"/>
            <a:ext cx="3609833" cy="2437912"/>
            <a:chOff x="4638053" y="3172874"/>
            <a:chExt cx="3610303" cy="2438230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94B7E76-E6BC-6146-A8ED-AAA20EAFEC51}"/>
                </a:ext>
              </a:extLst>
            </p:cNvPr>
            <p:cNvSpPr txBox="1"/>
            <p:nvPr/>
          </p:nvSpPr>
          <p:spPr>
            <a:xfrm>
              <a:off x="4638053" y="3172874"/>
              <a:ext cx="3610303" cy="4001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3B8FD80-A92D-1348-A5F7-D597EFA1BB76}"/>
                </a:ext>
              </a:extLst>
            </p:cNvPr>
            <p:cNvSpPr txBox="1"/>
            <p:nvPr/>
          </p:nvSpPr>
          <p:spPr>
            <a:xfrm>
              <a:off x="4638054" y="4041239"/>
              <a:ext cx="3610302" cy="15698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21" indent="-285721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/>
                <a:t>Assessment of provided Data Set </a:t>
              </a:r>
            </a:p>
            <a:p>
              <a:pPr marL="285721" indent="-285721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/>
                <a:t>Cleansing</a:t>
              </a:r>
            </a:p>
            <a:p>
              <a:pPr marL="285721" indent="-285721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/>
                <a:t>N/A</a:t>
              </a:r>
            </a:p>
            <a:p>
              <a:pPr marL="285721" indent="-285721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endParaRPr lang="en-US" dirty="0"/>
            </a:p>
            <a:p>
              <a:endParaRPr lang="en-US" sz="900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D67ED41-CE47-424D-935C-ADA7B6F6026B}"/>
              </a:ext>
            </a:extLst>
          </p:cNvPr>
          <p:cNvGrpSpPr/>
          <p:nvPr/>
        </p:nvGrpSpPr>
        <p:grpSpPr>
          <a:xfrm>
            <a:off x="8226064" y="3193613"/>
            <a:ext cx="3634478" cy="3130409"/>
            <a:chOff x="8230812" y="3106742"/>
            <a:chExt cx="3634951" cy="3130817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FC149CD-EA25-D24B-8706-3468D430BFDA}"/>
                </a:ext>
              </a:extLst>
            </p:cNvPr>
            <p:cNvSpPr txBox="1"/>
            <p:nvPr/>
          </p:nvSpPr>
          <p:spPr>
            <a:xfrm>
              <a:off x="8255460" y="3106742"/>
              <a:ext cx="361030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accent1"/>
                  </a:solidFill>
                </a:rPr>
                <a:t>Caveat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D6A934B-A09F-0B48-B1A7-3CFCBE5E3247}"/>
                </a:ext>
              </a:extLst>
            </p:cNvPr>
            <p:cNvSpPr txBox="1"/>
            <p:nvPr/>
          </p:nvSpPr>
          <p:spPr>
            <a:xfrm>
              <a:off x="8230812" y="3975106"/>
              <a:ext cx="3610302" cy="22624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21" indent="-285721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/>
                <a:t>Limited depth of analysis due to lack of data</a:t>
              </a:r>
              <a:endParaRPr lang="en-US" sz="900" dirty="0"/>
            </a:p>
            <a:p>
              <a:pPr marL="285721" indent="-285721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dirty="0"/>
                <a:t>Lack of information about hospitals</a:t>
              </a:r>
            </a:p>
            <a:p>
              <a:pPr marL="285721" indent="-285721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dirty="0"/>
                <a:t>Additional factors &amp; circumstances have to be considered</a:t>
              </a: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704C40EE-E37F-8F40-9B62-6098A818A8CC}"/>
              </a:ext>
            </a:extLst>
          </p:cNvPr>
          <p:cNvSpPr txBox="1"/>
          <p:nvPr/>
        </p:nvSpPr>
        <p:spPr>
          <a:xfrm>
            <a:off x="4240119" y="3178017"/>
            <a:ext cx="36098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1"/>
                </a:solidFill>
              </a:rPr>
              <a:t>Analysis</a:t>
            </a:r>
          </a:p>
        </p:txBody>
      </p:sp>
      <p:grpSp>
        <p:nvGrpSpPr>
          <p:cNvPr id="43" name="Google Shape;572;p39">
            <a:extLst>
              <a:ext uri="{FF2B5EF4-FFF2-40B4-BE49-F238E27FC236}">
                <a16:creationId xmlns:a16="http://schemas.microsoft.com/office/drawing/2014/main" id="{2DFF8CB1-8DDE-8145-913F-39512C944CA7}"/>
              </a:ext>
            </a:extLst>
          </p:cNvPr>
          <p:cNvGrpSpPr/>
          <p:nvPr/>
        </p:nvGrpSpPr>
        <p:grpSpPr>
          <a:xfrm>
            <a:off x="5449116" y="2038945"/>
            <a:ext cx="1227720" cy="960633"/>
            <a:chOff x="3936375" y="3703750"/>
            <a:chExt cx="453050" cy="332175"/>
          </a:xfrm>
          <a:solidFill>
            <a:schemeClr val="bg2">
              <a:lumMod val="10000"/>
            </a:schemeClr>
          </a:solidFill>
        </p:grpSpPr>
        <p:sp>
          <p:nvSpPr>
            <p:cNvPr id="44" name="Google Shape;573;p39">
              <a:extLst>
                <a:ext uri="{FF2B5EF4-FFF2-40B4-BE49-F238E27FC236}">
                  <a16:creationId xmlns:a16="http://schemas.microsoft.com/office/drawing/2014/main" id="{D15A153E-0784-DC4E-834C-528607E6989A}"/>
                </a:ext>
              </a:extLst>
            </p:cNvPr>
            <p:cNvSpPr/>
            <p:nvPr/>
          </p:nvSpPr>
          <p:spPr>
            <a:xfrm>
              <a:off x="3936375" y="3703750"/>
              <a:ext cx="453050" cy="332175"/>
            </a:xfrm>
            <a:custGeom>
              <a:avLst/>
              <a:gdLst/>
              <a:ahLst/>
              <a:cxnLst/>
              <a:rect l="l" t="t" r="r" b="b"/>
              <a:pathLst>
                <a:path w="18122" h="13287" extrusionOk="0">
                  <a:moveTo>
                    <a:pt x="366" y="0"/>
                  </a:moveTo>
                  <a:lnTo>
                    <a:pt x="293" y="49"/>
                  </a:lnTo>
                  <a:lnTo>
                    <a:pt x="195" y="74"/>
                  </a:lnTo>
                  <a:lnTo>
                    <a:pt x="122" y="147"/>
                  </a:lnTo>
                  <a:lnTo>
                    <a:pt x="73" y="220"/>
                  </a:lnTo>
                  <a:lnTo>
                    <a:pt x="24" y="293"/>
                  </a:lnTo>
                  <a:lnTo>
                    <a:pt x="0" y="391"/>
                  </a:lnTo>
                  <a:lnTo>
                    <a:pt x="0" y="489"/>
                  </a:lnTo>
                  <a:lnTo>
                    <a:pt x="0" y="12798"/>
                  </a:lnTo>
                  <a:lnTo>
                    <a:pt x="0" y="12896"/>
                  </a:lnTo>
                  <a:lnTo>
                    <a:pt x="24" y="12993"/>
                  </a:lnTo>
                  <a:lnTo>
                    <a:pt x="73" y="13067"/>
                  </a:lnTo>
                  <a:lnTo>
                    <a:pt x="122" y="13140"/>
                  </a:lnTo>
                  <a:lnTo>
                    <a:pt x="195" y="13213"/>
                  </a:lnTo>
                  <a:lnTo>
                    <a:pt x="293" y="13238"/>
                  </a:lnTo>
                  <a:lnTo>
                    <a:pt x="366" y="13287"/>
                  </a:lnTo>
                  <a:lnTo>
                    <a:pt x="17756" y="13287"/>
                  </a:lnTo>
                  <a:lnTo>
                    <a:pt x="17829" y="13238"/>
                  </a:lnTo>
                  <a:lnTo>
                    <a:pt x="17927" y="13213"/>
                  </a:lnTo>
                  <a:lnTo>
                    <a:pt x="18000" y="13140"/>
                  </a:lnTo>
                  <a:lnTo>
                    <a:pt x="18049" y="13067"/>
                  </a:lnTo>
                  <a:lnTo>
                    <a:pt x="18098" y="12993"/>
                  </a:lnTo>
                  <a:lnTo>
                    <a:pt x="18122" y="12896"/>
                  </a:lnTo>
                  <a:lnTo>
                    <a:pt x="18122" y="12798"/>
                  </a:lnTo>
                  <a:lnTo>
                    <a:pt x="18122" y="12700"/>
                  </a:lnTo>
                  <a:lnTo>
                    <a:pt x="18098" y="12603"/>
                  </a:lnTo>
                  <a:lnTo>
                    <a:pt x="18049" y="12529"/>
                  </a:lnTo>
                  <a:lnTo>
                    <a:pt x="18000" y="12456"/>
                  </a:lnTo>
                  <a:lnTo>
                    <a:pt x="17927" y="12383"/>
                  </a:lnTo>
                  <a:lnTo>
                    <a:pt x="17829" y="12358"/>
                  </a:lnTo>
                  <a:lnTo>
                    <a:pt x="17756" y="12310"/>
                  </a:lnTo>
                  <a:lnTo>
                    <a:pt x="977" y="12310"/>
                  </a:lnTo>
                  <a:lnTo>
                    <a:pt x="977" y="489"/>
                  </a:lnTo>
                  <a:lnTo>
                    <a:pt x="953" y="391"/>
                  </a:lnTo>
                  <a:lnTo>
                    <a:pt x="928" y="293"/>
                  </a:lnTo>
                  <a:lnTo>
                    <a:pt x="879" y="220"/>
                  </a:lnTo>
                  <a:lnTo>
                    <a:pt x="830" y="147"/>
                  </a:lnTo>
                  <a:lnTo>
                    <a:pt x="757" y="74"/>
                  </a:lnTo>
                  <a:lnTo>
                    <a:pt x="659" y="49"/>
                  </a:lnTo>
                  <a:lnTo>
                    <a:pt x="58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574;p39">
              <a:extLst>
                <a:ext uri="{FF2B5EF4-FFF2-40B4-BE49-F238E27FC236}">
                  <a16:creationId xmlns:a16="http://schemas.microsoft.com/office/drawing/2014/main" id="{8B54F354-B056-8D4A-9D9E-CD7A07BA1211}"/>
                </a:ext>
              </a:extLst>
            </p:cNvPr>
            <p:cNvSpPr/>
            <p:nvPr/>
          </p:nvSpPr>
          <p:spPr>
            <a:xfrm>
              <a:off x="3988875" y="3864325"/>
              <a:ext cx="77575" cy="133125"/>
            </a:xfrm>
            <a:custGeom>
              <a:avLst/>
              <a:gdLst/>
              <a:ahLst/>
              <a:cxnLst/>
              <a:rect l="l" t="t" r="r" b="b"/>
              <a:pathLst>
                <a:path w="3103" h="5325" extrusionOk="0">
                  <a:moveTo>
                    <a:pt x="489" y="1"/>
                  </a:moveTo>
                  <a:lnTo>
                    <a:pt x="391" y="25"/>
                  </a:lnTo>
                  <a:lnTo>
                    <a:pt x="294" y="50"/>
                  </a:lnTo>
                  <a:lnTo>
                    <a:pt x="196" y="98"/>
                  </a:lnTo>
                  <a:lnTo>
                    <a:pt x="147" y="147"/>
                  </a:lnTo>
                  <a:lnTo>
                    <a:pt x="74" y="220"/>
                  </a:lnTo>
                  <a:lnTo>
                    <a:pt x="25" y="294"/>
                  </a:lnTo>
                  <a:lnTo>
                    <a:pt x="0" y="391"/>
                  </a:lnTo>
                  <a:lnTo>
                    <a:pt x="0" y="489"/>
                  </a:lnTo>
                  <a:lnTo>
                    <a:pt x="0" y="5325"/>
                  </a:lnTo>
                  <a:lnTo>
                    <a:pt x="3102" y="5325"/>
                  </a:lnTo>
                  <a:lnTo>
                    <a:pt x="3102" y="489"/>
                  </a:lnTo>
                  <a:lnTo>
                    <a:pt x="3102" y="391"/>
                  </a:lnTo>
                  <a:lnTo>
                    <a:pt x="3053" y="294"/>
                  </a:lnTo>
                  <a:lnTo>
                    <a:pt x="3029" y="220"/>
                  </a:lnTo>
                  <a:lnTo>
                    <a:pt x="2956" y="147"/>
                  </a:lnTo>
                  <a:lnTo>
                    <a:pt x="2882" y="98"/>
                  </a:lnTo>
                  <a:lnTo>
                    <a:pt x="2809" y="50"/>
                  </a:lnTo>
                  <a:lnTo>
                    <a:pt x="2711" y="25"/>
                  </a:lnTo>
                  <a:lnTo>
                    <a:pt x="261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575;p39">
              <a:extLst>
                <a:ext uri="{FF2B5EF4-FFF2-40B4-BE49-F238E27FC236}">
                  <a16:creationId xmlns:a16="http://schemas.microsoft.com/office/drawing/2014/main" id="{F1310516-12A8-ED4A-9ADD-38969E1DDBF5}"/>
                </a:ext>
              </a:extLst>
            </p:cNvPr>
            <p:cNvSpPr/>
            <p:nvPr/>
          </p:nvSpPr>
          <p:spPr>
            <a:xfrm>
              <a:off x="4259350" y="3864325"/>
              <a:ext cx="77575" cy="133125"/>
            </a:xfrm>
            <a:custGeom>
              <a:avLst/>
              <a:gdLst/>
              <a:ahLst/>
              <a:cxnLst/>
              <a:rect l="l" t="t" r="r" b="b"/>
              <a:pathLst>
                <a:path w="3103" h="5325" extrusionOk="0">
                  <a:moveTo>
                    <a:pt x="489" y="1"/>
                  </a:moveTo>
                  <a:lnTo>
                    <a:pt x="392" y="25"/>
                  </a:lnTo>
                  <a:lnTo>
                    <a:pt x="294" y="50"/>
                  </a:lnTo>
                  <a:lnTo>
                    <a:pt x="221" y="98"/>
                  </a:lnTo>
                  <a:lnTo>
                    <a:pt x="147" y="147"/>
                  </a:lnTo>
                  <a:lnTo>
                    <a:pt x="74" y="220"/>
                  </a:lnTo>
                  <a:lnTo>
                    <a:pt x="50" y="294"/>
                  </a:lnTo>
                  <a:lnTo>
                    <a:pt x="1" y="391"/>
                  </a:lnTo>
                  <a:lnTo>
                    <a:pt x="1" y="489"/>
                  </a:lnTo>
                  <a:lnTo>
                    <a:pt x="1" y="5325"/>
                  </a:lnTo>
                  <a:lnTo>
                    <a:pt x="3103" y="5325"/>
                  </a:lnTo>
                  <a:lnTo>
                    <a:pt x="3103" y="489"/>
                  </a:lnTo>
                  <a:lnTo>
                    <a:pt x="3103" y="391"/>
                  </a:lnTo>
                  <a:lnTo>
                    <a:pt x="3078" y="294"/>
                  </a:lnTo>
                  <a:lnTo>
                    <a:pt x="3029" y="220"/>
                  </a:lnTo>
                  <a:lnTo>
                    <a:pt x="2956" y="147"/>
                  </a:lnTo>
                  <a:lnTo>
                    <a:pt x="2907" y="98"/>
                  </a:lnTo>
                  <a:lnTo>
                    <a:pt x="2810" y="50"/>
                  </a:lnTo>
                  <a:lnTo>
                    <a:pt x="2712" y="25"/>
                  </a:lnTo>
                  <a:lnTo>
                    <a:pt x="261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576;p39">
              <a:extLst>
                <a:ext uri="{FF2B5EF4-FFF2-40B4-BE49-F238E27FC236}">
                  <a16:creationId xmlns:a16="http://schemas.microsoft.com/office/drawing/2014/main" id="{4E95DECC-6C2A-A74E-8058-C35172BAC311}"/>
                </a:ext>
              </a:extLst>
            </p:cNvPr>
            <p:cNvSpPr/>
            <p:nvPr/>
          </p:nvSpPr>
          <p:spPr>
            <a:xfrm>
              <a:off x="4078625" y="3717800"/>
              <a:ext cx="77575" cy="279650"/>
            </a:xfrm>
            <a:custGeom>
              <a:avLst/>
              <a:gdLst/>
              <a:ahLst/>
              <a:cxnLst/>
              <a:rect l="l" t="t" r="r" b="b"/>
              <a:pathLst>
                <a:path w="3103" h="11186" extrusionOk="0">
                  <a:moveTo>
                    <a:pt x="489" y="0"/>
                  </a:moveTo>
                  <a:lnTo>
                    <a:pt x="391" y="25"/>
                  </a:lnTo>
                  <a:lnTo>
                    <a:pt x="294" y="49"/>
                  </a:lnTo>
                  <a:lnTo>
                    <a:pt x="220" y="98"/>
                  </a:lnTo>
                  <a:lnTo>
                    <a:pt x="147" y="147"/>
                  </a:lnTo>
                  <a:lnTo>
                    <a:pt x="74" y="220"/>
                  </a:lnTo>
                  <a:lnTo>
                    <a:pt x="49" y="293"/>
                  </a:lnTo>
                  <a:lnTo>
                    <a:pt x="1" y="391"/>
                  </a:lnTo>
                  <a:lnTo>
                    <a:pt x="1" y="489"/>
                  </a:lnTo>
                  <a:lnTo>
                    <a:pt x="1" y="11186"/>
                  </a:lnTo>
                  <a:lnTo>
                    <a:pt x="3102" y="11186"/>
                  </a:lnTo>
                  <a:lnTo>
                    <a:pt x="3102" y="489"/>
                  </a:lnTo>
                  <a:lnTo>
                    <a:pt x="3102" y="391"/>
                  </a:lnTo>
                  <a:lnTo>
                    <a:pt x="3078" y="293"/>
                  </a:lnTo>
                  <a:lnTo>
                    <a:pt x="3029" y="220"/>
                  </a:lnTo>
                  <a:lnTo>
                    <a:pt x="2956" y="147"/>
                  </a:lnTo>
                  <a:lnTo>
                    <a:pt x="2907" y="98"/>
                  </a:lnTo>
                  <a:lnTo>
                    <a:pt x="2809" y="49"/>
                  </a:lnTo>
                  <a:lnTo>
                    <a:pt x="2712" y="25"/>
                  </a:lnTo>
                  <a:lnTo>
                    <a:pt x="261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577;p39">
              <a:extLst>
                <a:ext uri="{FF2B5EF4-FFF2-40B4-BE49-F238E27FC236}">
                  <a16:creationId xmlns:a16="http://schemas.microsoft.com/office/drawing/2014/main" id="{502B8816-7123-7240-AE2D-91A06711D7E5}"/>
                </a:ext>
              </a:extLst>
            </p:cNvPr>
            <p:cNvSpPr/>
            <p:nvPr/>
          </p:nvSpPr>
          <p:spPr>
            <a:xfrm>
              <a:off x="4168375" y="3788625"/>
              <a:ext cx="78175" cy="208825"/>
            </a:xfrm>
            <a:custGeom>
              <a:avLst/>
              <a:gdLst/>
              <a:ahLst/>
              <a:cxnLst/>
              <a:rect l="l" t="t" r="r" b="b"/>
              <a:pathLst>
                <a:path w="3127" h="8353" extrusionOk="0">
                  <a:moveTo>
                    <a:pt x="489" y="0"/>
                  </a:moveTo>
                  <a:lnTo>
                    <a:pt x="392" y="25"/>
                  </a:lnTo>
                  <a:lnTo>
                    <a:pt x="318" y="49"/>
                  </a:lnTo>
                  <a:lnTo>
                    <a:pt x="221" y="98"/>
                  </a:lnTo>
                  <a:lnTo>
                    <a:pt x="147" y="147"/>
                  </a:lnTo>
                  <a:lnTo>
                    <a:pt x="99" y="220"/>
                  </a:lnTo>
                  <a:lnTo>
                    <a:pt x="50" y="293"/>
                  </a:lnTo>
                  <a:lnTo>
                    <a:pt x="25" y="391"/>
                  </a:lnTo>
                  <a:lnTo>
                    <a:pt x="1" y="489"/>
                  </a:lnTo>
                  <a:lnTo>
                    <a:pt x="1" y="8353"/>
                  </a:lnTo>
                  <a:lnTo>
                    <a:pt x="3127" y="8353"/>
                  </a:lnTo>
                  <a:lnTo>
                    <a:pt x="3127" y="489"/>
                  </a:lnTo>
                  <a:lnTo>
                    <a:pt x="3103" y="391"/>
                  </a:lnTo>
                  <a:lnTo>
                    <a:pt x="3078" y="293"/>
                  </a:lnTo>
                  <a:lnTo>
                    <a:pt x="3029" y="220"/>
                  </a:lnTo>
                  <a:lnTo>
                    <a:pt x="2980" y="147"/>
                  </a:lnTo>
                  <a:lnTo>
                    <a:pt x="2907" y="98"/>
                  </a:lnTo>
                  <a:lnTo>
                    <a:pt x="2809" y="49"/>
                  </a:lnTo>
                  <a:lnTo>
                    <a:pt x="2736" y="25"/>
                  </a:lnTo>
                  <a:lnTo>
                    <a:pt x="26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" name="Google Shape;493;p39">
            <a:extLst>
              <a:ext uri="{FF2B5EF4-FFF2-40B4-BE49-F238E27FC236}">
                <a16:creationId xmlns:a16="http://schemas.microsoft.com/office/drawing/2014/main" id="{D33AE6BD-72A3-CA41-86B2-E1997766F9C7}"/>
              </a:ext>
            </a:extLst>
          </p:cNvPr>
          <p:cNvGrpSpPr/>
          <p:nvPr/>
        </p:nvGrpSpPr>
        <p:grpSpPr>
          <a:xfrm>
            <a:off x="1692605" y="1965013"/>
            <a:ext cx="1043117" cy="1088883"/>
            <a:chOff x="5970800" y="1619250"/>
            <a:chExt cx="428650" cy="456725"/>
          </a:xfrm>
          <a:solidFill>
            <a:schemeClr val="bg2">
              <a:lumMod val="10000"/>
            </a:schemeClr>
          </a:solidFill>
        </p:grpSpPr>
        <p:sp>
          <p:nvSpPr>
            <p:cNvPr id="50" name="Google Shape;494;p39">
              <a:extLst>
                <a:ext uri="{FF2B5EF4-FFF2-40B4-BE49-F238E27FC236}">
                  <a16:creationId xmlns:a16="http://schemas.microsoft.com/office/drawing/2014/main" id="{3EFEC4EF-681D-E84D-B160-B046735A7195}"/>
                </a:ext>
              </a:extLst>
            </p:cNvPr>
            <p:cNvSpPr/>
            <p:nvPr/>
          </p:nvSpPr>
          <p:spPr>
            <a:xfrm>
              <a:off x="5970800" y="1674200"/>
              <a:ext cx="377975" cy="377950"/>
            </a:xfrm>
            <a:custGeom>
              <a:avLst/>
              <a:gdLst/>
              <a:ahLst/>
              <a:cxnLst/>
              <a:rect l="l" t="t" r="r" b="b"/>
              <a:pathLst>
                <a:path w="15119" h="15118" extrusionOk="0">
                  <a:moveTo>
                    <a:pt x="7181" y="0"/>
                  </a:moveTo>
                  <a:lnTo>
                    <a:pt x="6790" y="49"/>
                  </a:lnTo>
                  <a:lnTo>
                    <a:pt x="6424" y="98"/>
                  </a:lnTo>
                  <a:lnTo>
                    <a:pt x="6058" y="147"/>
                  </a:lnTo>
                  <a:lnTo>
                    <a:pt x="5691" y="244"/>
                  </a:lnTo>
                  <a:lnTo>
                    <a:pt x="5325" y="342"/>
                  </a:lnTo>
                  <a:lnTo>
                    <a:pt x="4983" y="464"/>
                  </a:lnTo>
                  <a:lnTo>
                    <a:pt x="4641" y="586"/>
                  </a:lnTo>
                  <a:lnTo>
                    <a:pt x="4299" y="733"/>
                  </a:lnTo>
                  <a:lnTo>
                    <a:pt x="3982" y="904"/>
                  </a:lnTo>
                  <a:lnTo>
                    <a:pt x="3664" y="1099"/>
                  </a:lnTo>
                  <a:lnTo>
                    <a:pt x="3347" y="1295"/>
                  </a:lnTo>
                  <a:lnTo>
                    <a:pt x="3053" y="1490"/>
                  </a:lnTo>
                  <a:lnTo>
                    <a:pt x="2760" y="1734"/>
                  </a:lnTo>
                  <a:lnTo>
                    <a:pt x="2492" y="1954"/>
                  </a:lnTo>
                  <a:lnTo>
                    <a:pt x="2223" y="2223"/>
                  </a:lnTo>
                  <a:lnTo>
                    <a:pt x="1979" y="2467"/>
                  </a:lnTo>
                  <a:lnTo>
                    <a:pt x="1735" y="2760"/>
                  </a:lnTo>
                  <a:lnTo>
                    <a:pt x="1515" y="3029"/>
                  </a:lnTo>
                  <a:lnTo>
                    <a:pt x="1295" y="3322"/>
                  </a:lnTo>
                  <a:lnTo>
                    <a:pt x="1100" y="3639"/>
                  </a:lnTo>
                  <a:lnTo>
                    <a:pt x="929" y="3957"/>
                  </a:lnTo>
                  <a:lnTo>
                    <a:pt x="758" y="4274"/>
                  </a:lnTo>
                  <a:lnTo>
                    <a:pt x="611" y="4616"/>
                  </a:lnTo>
                  <a:lnTo>
                    <a:pt x="465" y="4958"/>
                  </a:lnTo>
                  <a:lnTo>
                    <a:pt x="343" y="5300"/>
                  </a:lnTo>
                  <a:lnTo>
                    <a:pt x="245" y="5666"/>
                  </a:lnTo>
                  <a:lnTo>
                    <a:pt x="172" y="6033"/>
                  </a:lnTo>
                  <a:lnTo>
                    <a:pt x="98" y="6399"/>
                  </a:lnTo>
                  <a:lnTo>
                    <a:pt x="49" y="6790"/>
                  </a:lnTo>
                  <a:lnTo>
                    <a:pt x="25" y="7156"/>
                  </a:lnTo>
                  <a:lnTo>
                    <a:pt x="1" y="7547"/>
                  </a:lnTo>
                  <a:lnTo>
                    <a:pt x="25" y="7938"/>
                  </a:lnTo>
                  <a:lnTo>
                    <a:pt x="49" y="8328"/>
                  </a:lnTo>
                  <a:lnTo>
                    <a:pt x="98" y="8695"/>
                  </a:lnTo>
                  <a:lnTo>
                    <a:pt x="172" y="9085"/>
                  </a:lnTo>
                  <a:lnTo>
                    <a:pt x="245" y="9452"/>
                  </a:lnTo>
                  <a:lnTo>
                    <a:pt x="343" y="9794"/>
                  </a:lnTo>
                  <a:lnTo>
                    <a:pt x="465" y="10160"/>
                  </a:lnTo>
                  <a:lnTo>
                    <a:pt x="611" y="10502"/>
                  </a:lnTo>
                  <a:lnTo>
                    <a:pt x="758" y="10820"/>
                  </a:lnTo>
                  <a:lnTo>
                    <a:pt x="929" y="11161"/>
                  </a:lnTo>
                  <a:lnTo>
                    <a:pt x="1100" y="11479"/>
                  </a:lnTo>
                  <a:lnTo>
                    <a:pt x="1295" y="11772"/>
                  </a:lnTo>
                  <a:lnTo>
                    <a:pt x="1515" y="12065"/>
                  </a:lnTo>
                  <a:lnTo>
                    <a:pt x="1735" y="12358"/>
                  </a:lnTo>
                  <a:lnTo>
                    <a:pt x="1979" y="12627"/>
                  </a:lnTo>
                  <a:lnTo>
                    <a:pt x="2223" y="12895"/>
                  </a:lnTo>
                  <a:lnTo>
                    <a:pt x="2492" y="13140"/>
                  </a:lnTo>
                  <a:lnTo>
                    <a:pt x="2760" y="13384"/>
                  </a:lnTo>
                  <a:lnTo>
                    <a:pt x="3053" y="13604"/>
                  </a:lnTo>
                  <a:lnTo>
                    <a:pt x="3347" y="13824"/>
                  </a:lnTo>
                  <a:lnTo>
                    <a:pt x="3664" y="14019"/>
                  </a:lnTo>
                  <a:lnTo>
                    <a:pt x="3982" y="14190"/>
                  </a:lnTo>
                  <a:lnTo>
                    <a:pt x="4299" y="14361"/>
                  </a:lnTo>
                  <a:lnTo>
                    <a:pt x="4641" y="14507"/>
                  </a:lnTo>
                  <a:lnTo>
                    <a:pt x="4983" y="14654"/>
                  </a:lnTo>
                  <a:lnTo>
                    <a:pt x="5325" y="14776"/>
                  </a:lnTo>
                  <a:lnTo>
                    <a:pt x="5691" y="14874"/>
                  </a:lnTo>
                  <a:lnTo>
                    <a:pt x="6058" y="14947"/>
                  </a:lnTo>
                  <a:lnTo>
                    <a:pt x="6424" y="15020"/>
                  </a:lnTo>
                  <a:lnTo>
                    <a:pt x="6790" y="15069"/>
                  </a:lnTo>
                  <a:lnTo>
                    <a:pt x="7181" y="15094"/>
                  </a:lnTo>
                  <a:lnTo>
                    <a:pt x="7572" y="15118"/>
                  </a:lnTo>
                  <a:lnTo>
                    <a:pt x="7963" y="15094"/>
                  </a:lnTo>
                  <a:lnTo>
                    <a:pt x="8329" y="15069"/>
                  </a:lnTo>
                  <a:lnTo>
                    <a:pt x="8720" y="15020"/>
                  </a:lnTo>
                  <a:lnTo>
                    <a:pt x="9086" y="14947"/>
                  </a:lnTo>
                  <a:lnTo>
                    <a:pt x="9452" y="14874"/>
                  </a:lnTo>
                  <a:lnTo>
                    <a:pt x="9819" y="14776"/>
                  </a:lnTo>
                  <a:lnTo>
                    <a:pt x="10161" y="14654"/>
                  </a:lnTo>
                  <a:lnTo>
                    <a:pt x="10503" y="14507"/>
                  </a:lnTo>
                  <a:lnTo>
                    <a:pt x="10844" y="14361"/>
                  </a:lnTo>
                  <a:lnTo>
                    <a:pt x="11162" y="14190"/>
                  </a:lnTo>
                  <a:lnTo>
                    <a:pt x="11479" y="14019"/>
                  </a:lnTo>
                  <a:lnTo>
                    <a:pt x="11797" y="13824"/>
                  </a:lnTo>
                  <a:lnTo>
                    <a:pt x="12090" y="13604"/>
                  </a:lnTo>
                  <a:lnTo>
                    <a:pt x="12383" y="13384"/>
                  </a:lnTo>
                  <a:lnTo>
                    <a:pt x="12652" y="13140"/>
                  </a:lnTo>
                  <a:lnTo>
                    <a:pt x="12920" y="12895"/>
                  </a:lnTo>
                  <a:lnTo>
                    <a:pt x="13165" y="12627"/>
                  </a:lnTo>
                  <a:lnTo>
                    <a:pt x="13409" y="12358"/>
                  </a:lnTo>
                  <a:lnTo>
                    <a:pt x="13629" y="12065"/>
                  </a:lnTo>
                  <a:lnTo>
                    <a:pt x="13824" y="11772"/>
                  </a:lnTo>
                  <a:lnTo>
                    <a:pt x="14019" y="11479"/>
                  </a:lnTo>
                  <a:lnTo>
                    <a:pt x="14215" y="11161"/>
                  </a:lnTo>
                  <a:lnTo>
                    <a:pt x="14386" y="10820"/>
                  </a:lnTo>
                  <a:lnTo>
                    <a:pt x="14532" y="10502"/>
                  </a:lnTo>
                  <a:lnTo>
                    <a:pt x="14654" y="10160"/>
                  </a:lnTo>
                  <a:lnTo>
                    <a:pt x="14777" y="9794"/>
                  </a:lnTo>
                  <a:lnTo>
                    <a:pt x="14899" y="9452"/>
                  </a:lnTo>
                  <a:lnTo>
                    <a:pt x="14972" y="9085"/>
                  </a:lnTo>
                  <a:lnTo>
                    <a:pt x="15045" y="8695"/>
                  </a:lnTo>
                  <a:lnTo>
                    <a:pt x="15094" y="8328"/>
                  </a:lnTo>
                  <a:lnTo>
                    <a:pt x="15118" y="7938"/>
                  </a:lnTo>
                  <a:lnTo>
                    <a:pt x="15118" y="7547"/>
                  </a:lnTo>
                  <a:lnTo>
                    <a:pt x="15094" y="6936"/>
                  </a:lnTo>
                  <a:lnTo>
                    <a:pt x="15021" y="6326"/>
                  </a:lnTo>
                  <a:lnTo>
                    <a:pt x="14899" y="5740"/>
                  </a:lnTo>
                  <a:lnTo>
                    <a:pt x="14728" y="5178"/>
                  </a:lnTo>
                  <a:lnTo>
                    <a:pt x="14532" y="4616"/>
                  </a:lnTo>
                  <a:lnTo>
                    <a:pt x="14288" y="4079"/>
                  </a:lnTo>
                  <a:lnTo>
                    <a:pt x="13995" y="3590"/>
                  </a:lnTo>
                  <a:lnTo>
                    <a:pt x="13653" y="3102"/>
                  </a:lnTo>
                  <a:lnTo>
                    <a:pt x="13458" y="3053"/>
                  </a:lnTo>
                  <a:lnTo>
                    <a:pt x="12163" y="4347"/>
                  </a:lnTo>
                  <a:lnTo>
                    <a:pt x="12383" y="4689"/>
                  </a:lnTo>
                  <a:lnTo>
                    <a:pt x="12578" y="5056"/>
                  </a:lnTo>
                  <a:lnTo>
                    <a:pt x="12749" y="5446"/>
                  </a:lnTo>
                  <a:lnTo>
                    <a:pt x="12896" y="5837"/>
                  </a:lnTo>
                  <a:lnTo>
                    <a:pt x="13018" y="6252"/>
                  </a:lnTo>
                  <a:lnTo>
                    <a:pt x="13091" y="6668"/>
                  </a:lnTo>
                  <a:lnTo>
                    <a:pt x="13165" y="7107"/>
                  </a:lnTo>
                  <a:lnTo>
                    <a:pt x="13165" y="7547"/>
                  </a:lnTo>
                  <a:lnTo>
                    <a:pt x="13140" y="8133"/>
                  </a:lnTo>
                  <a:lnTo>
                    <a:pt x="13067" y="8695"/>
                  </a:lnTo>
                  <a:lnTo>
                    <a:pt x="12920" y="9208"/>
                  </a:lnTo>
                  <a:lnTo>
                    <a:pt x="12725" y="9745"/>
                  </a:lnTo>
                  <a:lnTo>
                    <a:pt x="12505" y="10233"/>
                  </a:lnTo>
                  <a:lnTo>
                    <a:pt x="12212" y="10673"/>
                  </a:lnTo>
                  <a:lnTo>
                    <a:pt x="11895" y="11113"/>
                  </a:lnTo>
                  <a:lnTo>
                    <a:pt x="11528" y="11503"/>
                  </a:lnTo>
                  <a:lnTo>
                    <a:pt x="11138" y="11870"/>
                  </a:lnTo>
                  <a:lnTo>
                    <a:pt x="10698" y="12187"/>
                  </a:lnTo>
                  <a:lnTo>
                    <a:pt x="10234" y="12480"/>
                  </a:lnTo>
                  <a:lnTo>
                    <a:pt x="9745" y="12725"/>
                  </a:lnTo>
                  <a:lnTo>
                    <a:pt x="9233" y="12895"/>
                  </a:lnTo>
                  <a:lnTo>
                    <a:pt x="8695" y="13042"/>
                  </a:lnTo>
                  <a:lnTo>
                    <a:pt x="8133" y="13140"/>
                  </a:lnTo>
                  <a:lnTo>
                    <a:pt x="7572" y="13164"/>
                  </a:lnTo>
                  <a:lnTo>
                    <a:pt x="6986" y="13140"/>
                  </a:lnTo>
                  <a:lnTo>
                    <a:pt x="6448" y="13042"/>
                  </a:lnTo>
                  <a:lnTo>
                    <a:pt x="5911" y="12895"/>
                  </a:lnTo>
                  <a:lnTo>
                    <a:pt x="5398" y="12725"/>
                  </a:lnTo>
                  <a:lnTo>
                    <a:pt x="4910" y="12480"/>
                  </a:lnTo>
                  <a:lnTo>
                    <a:pt x="4446" y="12187"/>
                  </a:lnTo>
                  <a:lnTo>
                    <a:pt x="4006" y="11870"/>
                  </a:lnTo>
                  <a:lnTo>
                    <a:pt x="3615" y="11503"/>
                  </a:lnTo>
                  <a:lnTo>
                    <a:pt x="3249" y="11113"/>
                  </a:lnTo>
                  <a:lnTo>
                    <a:pt x="2931" y="10673"/>
                  </a:lnTo>
                  <a:lnTo>
                    <a:pt x="2638" y="10233"/>
                  </a:lnTo>
                  <a:lnTo>
                    <a:pt x="2418" y="9745"/>
                  </a:lnTo>
                  <a:lnTo>
                    <a:pt x="2223" y="9208"/>
                  </a:lnTo>
                  <a:lnTo>
                    <a:pt x="2077" y="8695"/>
                  </a:lnTo>
                  <a:lnTo>
                    <a:pt x="2003" y="8133"/>
                  </a:lnTo>
                  <a:lnTo>
                    <a:pt x="1954" y="7547"/>
                  </a:lnTo>
                  <a:lnTo>
                    <a:pt x="2003" y="6985"/>
                  </a:lnTo>
                  <a:lnTo>
                    <a:pt x="2077" y="6423"/>
                  </a:lnTo>
                  <a:lnTo>
                    <a:pt x="2223" y="5886"/>
                  </a:lnTo>
                  <a:lnTo>
                    <a:pt x="2418" y="5373"/>
                  </a:lnTo>
                  <a:lnTo>
                    <a:pt x="2638" y="4885"/>
                  </a:lnTo>
                  <a:lnTo>
                    <a:pt x="2931" y="4421"/>
                  </a:lnTo>
                  <a:lnTo>
                    <a:pt x="3249" y="4005"/>
                  </a:lnTo>
                  <a:lnTo>
                    <a:pt x="3615" y="3590"/>
                  </a:lnTo>
                  <a:lnTo>
                    <a:pt x="4006" y="3224"/>
                  </a:lnTo>
                  <a:lnTo>
                    <a:pt x="4446" y="2906"/>
                  </a:lnTo>
                  <a:lnTo>
                    <a:pt x="4910" y="2638"/>
                  </a:lnTo>
                  <a:lnTo>
                    <a:pt x="5398" y="2394"/>
                  </a:lnTo>
                  <a:lnTo>
                    <a:pt x="5911" y="2198"/>
                  </a:lnTo>
                  <a:lnTo>
                    <a:pt x="6448" y="2076"/>
                  </a:lnTo>
                  <a:lnTo>
                    <a:pt x="6986" y="1978"/>
                  </a:lnTo>
                  <a:lnTo>
                    <a:pt x="7572" y="1954"/>
                  </a:lnTo>
                  <a:lnTo>
                    <a:pt x="8011" y="1978"/>
                  </a:lnTo>
                  <a:lnTo>
                    <a:pt x="8451" y="2027"/>
                  </a:lnTo>
                  <a:lnTo>
                    <a:pt x="8866" y="2100"/>
                  </a:lnTo>
                  <a:lnTo>
                    <a:pt x="9281" y="2223"/>
                  </a:lnTo>
                  <a:lnTo>
                    <a:pt x="9672" y="2369"/>
                  </a:lnTo>
                  <a:lnTo>
                    <a:pt x="10063" y="2540"/>
                  </a:lnTo>
                  <a:lnTo>
                    <a:pt x="10429" y="2735"/>
                  </a:lnTo>
                  <a:lnTo>
                    <a:pt x="10771" y="2955"/>
                  </a:lnTo>
                  <a:lnTo>
                    <a:pt x="11943" y="1807"/>
                  </a:lnTo>
                  <a:lnTo>
                    <a:pt x="11846" y="1343"/>
                  </a:lnTo>
                  <a:lnTo>
                    <a:pt x="11382" y="1026"/>
                  </a:lnTo>
                  <a:lnTo>
                    <a:pt x="10893" y="782"/>
                  </a:lnTo>
                  <a:lnTo>
                    <a:pt x="10380" y="537"/>
                  </a:lnTo>
                  <a:lnTo>
                    <a:pt x="9843" y="342"/>
                  </a:lnTo>
                  <a:lnTo>
                    <a:pt x="9306" y="195"/>
                  </a:lnTo>
                  <a:lnTo>
                    <a:pt x="8744" y="98"/>
                  </a:lnTo>
                  <a:lnTo>
                    <a:pt x="8158" y="25"/>
                  </a:lnTo>
                  <a:lnTo>
                    <a:pt x="75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495;p39">
              <a:extLst>
                <a:ext uri="{FF2B5EF4-FFF2-40B4-BE49-F238E27FC236}">
                  <a16:creationId xmlns:a16="http://schemas.microsoft.com/office/drawing/2014/main" id="{25C37F68-2D94-3E4F-B03D-F18FF02BD68C}"/>
                </a:ext>
              </a:extLst>
            </p:cNvPr>
            <p:cNvSpPr/>
            <p:nvPr/>
          </p:nvSpPr>
          <p:spPr>
            <a:xfrm>
              <a:off x="6068500" y="1771875"/>
              <a:ext cx="182575" cy="182600"/>
            </a:xfrm>
            <a:custGeom>
              <a:avLst/>
              <a:gdLst/>
              <a:ahLst/>
              <a:cxnLst/>
              <a:rect l="l" t="t" r="r" b="b"/>
              <a:pathLst>
                <a:path w="7303" h="7304" extrusionOk="0">
                  <a:moveTo>
                    <a:pt x="3664" y="1"/>
                  </a:moveTo>
                  <a:lnTo>
                    <a:pt x="3297" y="25"/>
                  </a:lnTo>
                  <a:lnTo>
                    <a:pt x="2931" y="74"/>
                  </a:lnTo>
                  <a:lnTo>
                    <a:pt x="2565" y="147"/>
                  </a:lnTo>
                  <a:lnTo>
                    <a:pt x="2247" y="294"/>
                  </a:lnTo>
                  <a:lnTo>
                    <a:pt x="1930" y="440"/>
                  </a:lnTo>
                  <a:lnTo>
                    <a:pt x="1612" y="611"/>
                  </a:lnTo>
                  <a:lnTo>
                    <a:pt x="1344" y="831"/>
                  </a:lnTo>
                  <a:lnTo>
                    <a:pt x="1075" y="1075"/>
                  </a:lnTo>
                  <a:lnTo>
                    <a:pt x="831" y="1320"/>
                  </a:lnTo>
                  <a:lnTo>
                    <a:pt x="635" y="1613"/>
                  </a:lnTo>
                  <a:lnTo>
                    <a:pt x="440" y="1906"/>
                  </a:lnTo>
                  <a:lnTo>
                    <a:pt x="293" y="2223"/>
                  </a:lnTo>
                  <a:lnTo>
                    <a:pt x="171" y="2565"/>
                  </a:lnTo>
                  <a:lnTo>
                    <a:pt x="74" y="2907"/>
                  </a:lnTo>
                  <a:lnTo>
                    <a:pt x="25" y="3273"/>
                  </a:lnTo>
                  <a:lnTo>
                    <a:pt x="0" y="3640"/>
                  </a:lnTo>
                  <a:lnTo>
                    <a:pt x="25" y="4031"/>
                  </a:lnTo>
                  <a:lnTo>
                    <a:pt x="74" y="4373"/>
                  </a:lnTo>
                  <a:lnTo>
                    <a:pt x="171" y="4739"/>
                  </a:lnTo>
                  <a:lnTo>
                    <a:pt x="293" y="5081"/>
                  </a:lnTo>
                  <a:lnTo>
                    <a:pt x="440" y="5398"/>
                  </a:lnTo>
                  <a:lnTo>
                    <a:pt x="635" y="5691"/>
                  </a:lnTo>
                  <a:lnTo>
                    <a:pt x="831" y="5960"/>
                  </a:lnTo>
                  <a:lnTo>
                    <a:pt x="1075" y="6229"/>
                  </a:lnTo>
                  <a:lnTo>
                    <a:pt x="1344" y="6473"/>
                  </a:lnTo>
                  <a:lnTo>
                    <a:pt x="1612" y="6668"/>
                  </a:lnTo>
                  <a:lnTo>
                    <a:pt x="1930" y="6864"/>
                  </a:lnTo>
                  <a:lnTo>
                    <a:pt x="2247" y="7010"/>
                  </a:lnTo>
                  <a:lnTo>
                    <a:pt x="2565" y="7132"/>
                  </a:lnTo>
                  <a:lnTo>
                    <a:pt x="2931" y="7230"/>
                  </a:lnTo>
                  <a:lnTo>
                    <a:pt x="3297" y="7279"/>
                  </a:lnTo>
                  <a:lnTo>
                    <a:pt x="3664" y="7303"/>
                  </a:lnTo>
                  <a:lnTo>
                    <a:pt x="4030" y="7279"/>
                  </a:lnTo>
                  <a:lnTo>
                    <a:pt x="4396" y="7230"/>
                  </a:lnTo>
                  <a:lnTo>
                    <a:pt x="4738" y="7132"/>
                  </a:lnTo>
                  <a:lnTo>
                    <a:pt x="5080" y="7010"/>
                  </a:lnTo>
                  <a:lnTo>
                    <a:pt x="5398" y="6864"/>
                  </a:lnTo>
                  <a:lnTo>
                    <a:pt x="5691" y="6668"/>
                  </a:lnTo>
                  <a:lnTo>
                    <a:pt x="5984" y="6473"/>
                  </a:lnTo>
                  <a:lnTo>
                    <a:pt x="6253" y="6229"/>
                  </a:lnTo>
                  <a:lnTo>
                    <a:pt x="6472" y="5960"/>
                  </a:lnTo>
                  <a:lnTo>
                    <a:pt x="6692" y="5691"/>
                  </a:lnTo>
                  <a:lnTo>
                    <a:pt x="6863" y="5398"/>
                  </a:lnTo>
                  <a:lnTo>
                    <a:pt x="7034" y="5081"/>
                  </a:lnTo>
                  <a:lnTo>
                    <a:pt x="7156" y="4739"/>
                  </a:lnTo>
                  <a:lnTo>
                    <a:pt x="7230" y="4373"/>
                  </a:lnTo>
                  <a:lnTo>
                    <a:pt x="7303" y="4031"/>
                  </a:lnTo>
                  <a:lnTo>
                    <a:pt x="7303" y="3640"/>
                  </a:lnTo>
                  <a:lnTo>
                    <a:pt x="7303" y="3396"/>
                  </a:lnTo>
                  <a:lnTo>
                    <a:pt x="7278" y="3176"/>
                  </a:lnTo>
                  <a:lnTo>
                    <a:pt x="7254" y="2932"/>
                  </a:lnTo>
                  <a:lnTo>
                    <a:pt x="7181" y="2712"/>
                  </a:lnTo>
                  <a:lnTo>
                    <a:pt x="7132" y="2492"/>
                  </a:lnTo>
                  <a:lnTo>
                    <a:pt x="7034" y="2272"/>
                  </a:lnTo>
                  <a:lnTo>
                    <a:pt x="6839" y="1857"/>
                  </a:lnTo>
                  <a:lnTo>
                    <a:pt x="5325" y="3347"/>
                  </a:lnTo>
                  <a:lnTo>
                    <a:pt x="5349" y="3640"/>
                  </a:lnTo>
                  <a:lnTo>
                    <a:pt x="5349" y="3811"/>
                  </a:lnTo>
                  <a:lnTo>
                    <a:pt x="5325" y="3982"/>
                  </a:lnTo>
                  <a:lnTo>
                    <a:pt x="5276" y="4153"/>
                  </a:lnTo>
                  <a:lnTo>
                    <a:pt x="5227" y="4299"/>
                  </a:lnTo>
                  <a:lnTo>
                    <a:pt x="5154" y="4446"/>
                  </a:lnTo>
                  <a:lnTo>
                    <a:pt x="5080" y="4592"/>
                  </a:lnTo>
                  <a:lnTo>
                    <a:pt x="4983" y="4739"/>
                  </a:lnTo>
                  <a:lnTo>
                    <a:pt x="4860" y="4861"/>
                  </a:lnTo>
                  <a:lnTo>
                    <a:pt x="4738" y="4959"/>
                  </a:lnTo>
                  <a:lnTo>
                    <a:pt x="4616" y="5056"/>
                  </a:lnTo>
                  <a:lnTo>
                    <a:pt x="4470" y="5154"/>
                  </a:lnTo>
                  <a:lnTo>
                    <a:pt x="4323" y="5203"/>
                  </a:lnTo>
                  <a:lnTo>
                    <a:pt x="4177" y="5276"/>
                  </a:lnTo>
                  <a:lnTo>
                    <a:pt x="4006" y="5301"/>
                  </a:lnTo>
                  <a:lnTo>
                    <a:pt x="3835" y="5349"/>
                  </a:lnTo>
                  <a:lnTo>
                    <a:pt x="3493" y="5349"/>
                  </a:lnTo>
                  <a:lnTo>
                    <a:pt x="3322" y="5301"/>
                  </a:lnTo>
                  <a:lnTo>
                    <a:pt x="3151" y="5276"/>
                  </a:lnTo>
                  <a:lnTo>
                    <a:pt x="3004" y="5203"/>
                  </a:lnTo>
                  <a:lnTo>
                    <a:pt x="2858" y="5154"/>
                  </a:lnTo>
                  <a:lnTo>
                    <a:pt x="2711" y="5056"/>
                  </a:lnTo>
                  <a:lnTo>
                    <a:pt x="2589" y="4959"/>
                  </a:lnTo>
                  <a:lnTo>
                    <a:pt x="2467" y="4861"/>
                  </a:lnTo>
                  <a:lnTo>
                    <a:pt x="2345" y="4739"/>
                  </a:lnTo>
                  <a:lnTo>
                    <a:pt x="2247" y="4592"/>
                  </a:lnTo>
                  <a:lnTo>
                    <a:pt x="2174" y="4446"/>
                  </a:lnTo>
                  <a:lnTo>
                    <a:pt x="2101" y="4299"/>
                  </a:lnTo>
                  <a:lnTo>
                    <a:pt x="2027" y="4153"/>
                  </a:lnTo>
                  <a:lnTo>
                    <a:pt x="2003" y="3982"/>
                  </a:lnTo>
                  <a:lnTo>
                    <a:pt x="1979" y="3811"/>
                  </a:lnTo>
                  <a:lnTo>
                    <a:pt x="1954" y="3640"/>
                  </a:lnTo>
                  <a:lnTo>
                    <a:pt x="1979" y="3469"/>
                  </a:lnTo>
                  <a:lnTo>
                    <a:pt x="2003" y="3298"/>
                  </a:lnTo>
                  <a:lnTo>
                    <a:pt x="2027" y="3151"/>
                  </a:lnTo>
                  <a:lnTo>
                    <a:pt x="2101" y="2980"/>
                  </a:lnTo>
                  <a:lnTo>
                    <a:pt x="2174" y="2834"/>
                  </a:lnTo>
                  <a:lnTo>
                    <a:pt x="2247" y="2687"/>
                  </a:lnTo>
                  <a:lnTo>
                    <a:pt x="2345" y="2565"/>
                  </a:lnTo>
                  <a:lnTo>
                    <a:pt x="2467" y="2443"/>
                  </a:lnTo>
                  <a:lnTo>
                    <a:pt x="2589" y="2345"/>
                  </a:lnTo>
                  <a:lnTo>
                    <a:pt x="2711" y="2248"/>
                  </a:lnTo>
                  <a:lnTo>
                    <a:pt x="2858" y="2150"/>
                  </a:lnTo>
                  <a:lnTo>
                    <a:pt x="3004" y="2077"/>
                  </a:lnTo>
                  <a:lnTo>
                    <a:pt x="3151" y="2028"/>
                  </a:lnTo>
                  <a:lnTo>
                    <a:pt x="3322" y="1979"/>
                  </a:lnTo>
                  <a:lnTo>
                    <a:pt x="3493" y="1955"/>
                  </a:lnTo>
                  <a:lnTo>
                    <a:pt x="3664" y="1955"/>
                  </a:lnTo>
                  <a:lnTo>
                    <a:pt x="3957" y="1979"/>
                  </a:lnTo>
                  <a:lnTo>
                    <a:pt x="5447" y="465"/>
                  </a:lnTo>
                  <a:lnTo>
                    <a:pt x="5056" y="269"/>
                  </a:lnTo>
                  <a:lnTo>
                    <a:pt x="4836" y="196"/>
                  </a:lnTo>
                  <a:lnTo>
                    <a:pt x="4616" y="123"/>
                  </a:lnTo>
                  <a:lnTo>
                    <a:pt x="4372" y="74"/>
                  </a:lnTo>
                  <a:lnTo>
                    <a:pt x="4152" y="25"/>
                  </a:lnTo>
                  <a:lnTo>
                    <a:pt x="390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496;p39">
              <a:extLst>
                <a:ext uri="{FF2B5EF4-FFF2-40B4-BE49-F238E27FC236}">
                  <a16:creationId xmlns:a16="http://schemas.microsoft.com/office/drawing/2014/main" id="{67F4AF86-618B-0647-94AB-662BF194183E}"/>
                </a:ext>
              </a:extLst>
            </p:cNvPr>
            <p:cNvSpPr/>
            <p:nvPr/>
          </p:nvSpPr>
          <p:spPr>
            <a:xfrm>
              <a:off x="5981175" y="2005125"/>
              <a:ext cx="75125" cy="70850"/>
            </a:xfrm>
            <a:custGeom>
              <a:avLst/>
              <a:gdLst/>
              <a:ahLst/>
              <a:cxnLst/>
              <a:rect l="l" t="t" r="r" b="b"/>
              <a:pathLst>
                <a:path w="3005" h="2834" extrusionOk="0">
                  <a:moveTo>
                    <a:pt x="1466" y="0"/>
                  </a:moveTo>
                  <a:lnTo>
                    <a:pt x="294" y="1173"/>
                  </a:lnTo>
                  <a:lnTo>
                    <a:pt x="172" y="1319"/>
                  </a:lnTo>
                  <a:lnTo>
                    <a:pt x="74" y="1490"/>
                  </a:lnTo>
                  <a:lnTo>
                    <a:pt x="25" y="1661"/>
                  </a:lnTo>
                  <a:lnTo>
                    <a:pt x="1" y="1857"/>
                  </a:lnTo>
                  <a:lnTo>
                    <a:pt x="25" y="2052"/>
                  </a:lnTo>
                  <a:lnTo>
                    <a:pt x="74" y="2223"/>
                  </a:lnTo>
                  <a:lnTo>
                    <a:pt x="172" y="2394"/>
                  </a:lnTo>
                  <a:lnTo>
                    <a:pt x="294" y="2540"/>
                  </a:lnTo>
                  <a:lnTo>
                    <a:pt x="440" y="2663"/>
                  </a:lnTo>
                  <a:lnTo>
                    <a:pt x="611" y="2760"/>
                  </a:lnTo>
                  <a:lnTo>
                    <a:pt x="807" y="2809"/>
                  </a:lnTo>
                  <a:lnTo>
                    <a:pt x="978" y="2833"/>
                  </a:lnTo>
                  <a:lnTo>
                    <a:pt x="1173" y="2809"/>
                  </a:lnTo>
                  <a:lnTo>
                    <a:pt x="1344" y="2760"/>
                  </a:lnTo>
                  <a:lnTo>
                    <a:pt x="1515" y="2663"/>
                  </a:lnTo>
                  <a:lnTo>
                    <a:pt x="1686" y="2540"/>
                  </a:lnTo>
                  <a:lnTo>
                    <a:pt x="2858" y="1368"/>
                  </a:lnTo>
                  <a:lnTo>
                    <a:pt x="3005" y="1197"/>
                  </a:lnTo>
                  <a:lnTo>
                    <a:pt x="2590" y="928"/>
                  </a:lnTo>
                  <a:lnTo>
                    <a:pt x="2199" y="635"/>
                  </a:lnTo>
                  <a:lnTo>
                    <a:pt x="1808" y="342"/>
                  </a:lnTo>
                  <a:lnTo>
                    <a:pt x="146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497;p39">
              <a:extLst>
                <a:ext uri="{FF2B5EF4-FFF2-40B4-BE49-F238E27FC236}">
                  <a16:creationId xmlns:a16="http://schemas.microsoft.com/office/drawing/2014/main" id="{D3D277F1-9D58-5943-9DD1-0672FDB3ACCB}"/>
                </a:ext>
              </a:extLst>
            </p:cNvPr>
            <p:cNvSpPr/>
            <p:nvPr/>
          </p:nvSpPr>
          <p:spPr>
            <a:xfrm>
              <a:off x="6263875" y="2005125"/>
              <a:ext cx="74525" cy="70850"/>
            </a:xfrm>
            <a:custGeom>
              <a:avLst/>
              <a:gdLst/>
              <a:ahLst/>
              <a:cxnLst/>
              <a:rect l="l" t="t" r="r" b="b"/>
              <a:pathLst>
                <a:path w="2981" h="2834" extrusionOk="0">
                  <a:moveTo>
                    <a:pt x="1539" y="0"/>
                  </a:moveTo>
                  <a:lnTo>
                    <a:pt x="1173" y="342"/>
                  </a:lnTo>
                  <a:lnTo>
                    <a:pt x="807" y="635"/>
                  </a:lnTo>
                  <a:lnTo>
                    <a:pt x="416" y="928"/>
                  </a:lnTo>
                  <a:lnTo>
                    <a:pt x="1" y="1197"/>
                  </a:lnTo>
                  <a:lnTo>
                    <a:pt x="123" y="1368"/>
                  </a:lnTo>
                  <a:lnTo>
                    <a:pt x="1319" y="2540"/>
                  </a:lnTo>
                  <a:lnTo>
                    <a:pt x="1466" y="2663"/>
                  </a:lnTo>
                  <a:lnTo>
                    <a:pt x="1637" y="2760"/>
                  </a:lnTo>
                  <a:lnTo>
                    <a:pt x="1832" y="2809"/>
                  </a:lnTo>
                  <a:lnTo>
                    <a:pt x="2003" y="2833"/>
                  </a:lnTo>
                  <a:lnTo>
                    <a:pt x="2199" y="2809"/>
                  </a:lnTo>
                  <a:lnTo>
                    <a:pt x="2370" y="2760"/>
                  </a:lnTo>
                  <a:lnTo>
                    <a:pt x="2541" y="2663"/>
                  </a:lnTo>
                  <a:lnTo>
                    <a:pt x="2712" y="2540"/>
                  </a:lnTo>
                  <a:lnTo>
                    <a:pt x="2834" y="2394"/>
                  </a:lnTo>
                  <a:lnTo>
                    <a:pt x="2931" y="2223"/>
                  </a:lnTo>
                  <a:lnTo>
                    <a:pt x="2980" y="2052"/>
                  </a:lnTo>
                  <a:lnTo>
                    <a:pt x="2980" y="1857"/>
                  </a:lnTo>
                  <a:lnTo>
                    <a:pt x="2980" y="1661"/>
                  </a:lnTo>
                  <a:lnTo>
                    <a:pt x="2931" y="1490"/>
                  </a:lnTo>
                  <a:lnTo>
                    <a:pt x="2834" y="1319"/>
                  </a:lnTo>
                  <a:lnTo>
                    <a:pt x="2712" y="1173"/>
                  </a:lnTo>
                  <a:lnTo>
                    <a:pt x="15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498;p39">
              <a:extLst>
                <a:ext uri="{FF2B5EF4-FFF2-40B4-BE49-F238E27FC236}">
                  <a16:creationId xmlns:a16="http://schemas.microsoft.com/office/drawing/2014/main" id="{72359F11-AE2B-7E47-963D-614F20918904}"/>
                </a:ext>
              </a:extLst>
            </p:cNvPr>
            <p:cNvSpPr/>
            <p:nvPr/>
          </p:nvSpPr>
          <p:spPr>
            <a:xfrm>
              <a:off x="6147875" y="1619250"/>
              <a:ext cx="251575" cy="255850"/>
            </a:xfrm>
            <a:custGeom>
              <a:avLst/>
              <a:gdLst/>
              <a:ahLst/>
              <a:cxnLst/>
              <a:rect l="l" t="t" r="r" b="b"/>
              <a:pathLst>
                <a:path w="10063" h="10234" extrusionOk="0">
                  <a:moveTo>
                    <a:pt x="7352" y="0"/>
                  </a:moveTo>
                  <a:lnTo>
                    <a:pt x="7254" y="24"/>
                  </a:lnTo>
                  <a:lnTo>
                    <a:pt x="7181" y="73"/>
                  </a:lnTo>
                  <a:lnTo>
                    <a:pt x="7083" y="147"/>
                  </a:lnTo>
                  <a:lnTo>
                    <a:pt x="5447" y="1758"/>
                  </a:lnTo>
                  <a:lnTo>
                    <a:pt x="5373" y="1856"/>
                  </a:lnTo>
                  <a:lnTo>
                    <a:pt x="5300" y="1978"/>
                  </a:lnTo>
                  <a:lnTo>
                    <a:pt x="5227" y="2125"/>
                  </a:lnTo>
                  <a:lnTo>
                    <a:pt x="5178" y="2247"/>
                  </a:lnTo>
                  <a:lnTo>
                    <a:pt x="5154" y="2393"/>
                  </a:lnTo>
                  <a:lnTo>
                    <a:pt x="5129" y="2540"/>
                  </a:lnTo>
                  <a:lnTo>
                    <a:pt x="5129" y="2687"/>
                  </a:lnTo>
                  <a:lnTo>
                    <a:pt x="5129" y="2809"/>
                  </a:lnTo>
                  <a:lnTo>
                    <a:pt x="5349" y="3981"/>
                  </a:lnTo>
                  <a:lnTo>
                    <a:pt x="5398" y="4152"/>
                  </a:lnTo>
                  <a:lnTo>
                    <a:pt x="147" y="9403"/>
                  </a:lnTo>
                  <a:lnTo>
                    <a:pt x="74" y="9476"/>
                  </a:lnTo>
                  <a:lnTo>
                    <a:pt x="25" y="9574"/>
                  </a:lnTo>
                  <a:lnTo>
                    <a:pt x="0" y="9672"/>
                  </a:lnTo>
                  <a:lnTo>
                    <a:pt x="0" y="9745"/>
                  </a:lnTo>
                  <a:lnTo>
                    <a:pt x="0" y="9843"/>
                  </a:lnTo>
                  <a:lnTo>
                    <a:pt x="25" y="9940"/>
                  </a:lnTo>
                  <a:lnTo>
                    <a:pt x="74" y="10013"/>
                  </a:lnTo>
                  <a:lnTo>
                    <a:pt x="147" y="10087"/>
                  </a:lnTo>
                  <a:lnTo>
                    <a:pt x="220" y="10160"/>
                  </a:lnTo>
                  <a:lnTo>
                    <a:pt x="293" y="10209"/>
                  </a:lnTo>
                  <a:lnTo>
                    <a:pt x="391" y="10233"/>
                  </a:lnTo>
                  <a:lnTo>
                    <a:pt x="586" y="10233"/>
                  </a:lnTo>
                  <a:lnTo>
                    <a:pt x="660" y="10209"/>
                  </a:lnTo>
                  <a:lnTo>
                    <a:pt x="757" y="10160"/>
                  </a:lnTo>
                  <a:lnTo>
                    <a:pt x="831" y="10087"/>
                  </a:lnTo>
                  <a:lnTo>
                    <a:pt x="6204" y="4738"/>
                  </a:lnTo>
                  <a:lnTo>
                    <a:pt x="7254" y="4909"/>
                  </a:lnTo>
                  <a:lnTo>
                    <a:pt x="7376" y="4933"/>
                  </a:lnTo>
                  <a:lnTo>
                    <a:pt x="7523" y="4933"/>
                  </a:lnTo>
                  <a:lnTo>
                    <a:pt x="7645" y="4909"/>
                  </a:lnTo>
                  <a:lnTo>
                    <a:pt x="7791" y="4860"/>
                  </a:lnTo>
                  <a:lnTo>
                    <a:pt x="7938" y="4811"/>
                  </a:lnTo>
                  <a:lnTo>
                    <a:pt x="8060" y="4763"/>
                  </a:lnTo>
                  <a:lnTo>
                    <a:pt x="8182" y="4689"/>
                  </a:lnTo>
                  <a:lnTo>
                    <a:pt x="8280" y="4592"/>
                  </a:lnTo>
                  <a:lnTo>
                    <a:pt x="9916" y="2955"/>
                  </a:lnTo>
                  <a:lnTo>
                    <a:pt x="9989" y="2882"/>
                  </a:lnTo>
                  <a:lnTo>
                    <a:pt x="10038" y="2784"/>
                  </a:lnTo>
                  <a:lnTo>
                    <a:pt x="10063" y="2711"/>
                  </a:lnTo>
                  <a:lnTo>
                    <a:pt x="10038" y="2613"/>
                  </a:lnTo>
                  <a:lnTo>
                    <a:pt x="10014" y="2564"/>
                  </a:lnTo>
                  <a:lnTo>
                    <a:pt x="9940" y="2491"/>
                  </a:lnTo>
                  <a:lnTo>
                    <a:pt x="9843" y="2442"/>
                  </a:lnTo>
                  <a:lnTo>
                    <a:pt x="9745" y="2418"/>
                  </a:lnTo>
                  <a:lnTo>
                    <a:pt x="8695" y="2223"/>
                  </a:lnTo>
                  <a:lnTo>
                    <a:pt x="9721" y="1197"/>
                  </a:lnTo>
                  <a:lnTo>
                    <a:pt x="9794" y="1123"/>
                  </a:lnTo>
                  <a:lnTo>
                    <a:pt x="9843" y="1026"/>
                  </a:lnTo>
                  <a:lnTo>
                    <a:pt x="9867" y="953"/>
                  </a:lnTo>
                  <a:lnTo>
                    <a:pt x="9867" y="855"/>
                  </a:lnTo>
                  <a:lnTo>
                    <a:pt x="9867" y="757"/>
                  </a:lnTo>
                  <a:lnTo>
                    <a:pt x="9843" y="659"/>
                  </a:lnTo>
                  <a:lnTo>
                    <a:pt x="9794" y="586"/>
                  </a:lnTo>
                  <a:lnTo>
                    <a:pt x="9721" y="513"/>
                  </a:lnTo>
                  <a:lnTo>
                    <a:pt x="9647" y="440"/>
                  </a:lnTo>
                  <a:lnTo>
                    <a:pt x="9574" y="391"/>
                  </a:lnTo>
                  <a:lnTo>
                    <a:pt x="9476" y="366"/>
                  </a:lnTo>
                  <a:lnTo>
                    <a:pt x="9281" y="366"/>
                  </a:lnTo>
                  <a:lnTo>
                    <a:pt x="9208" y="391"/>
                  </a:lnTo>
                  <a:lnTo>
                    <a:pt x="9110" y="440"/>
                  </a:lnTo>
                  <a:lnTo>
                    <a:pt x="9037" y="513"/>
                  </a:lnTo>
                  <a:lnTo>
                    <a:pt x="7889" y="1661"/>
                  </a:lnTo>
                  <a:lnTo>
                    <a:pt x="7840" y="1490"/>
                  </a:lnTo>
                  <a:lnTo>
                    <a:pt x="7620" y="318"/>
                  </a:lnTo>
                  <a:lnTo>
                    <a:pt x="7596" y="195"/>
                  </a:lnTo>
                  <a:lnTo>
                    <a:pt x="7547" y="98"/>
                  </a:lnTo>
                  <a:lnTo>
                    <a:pt x="7498" y="49"/>
                  </a:lnTo>
                  <a:lnTo>
                    <a:pt x="74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5" name="Google Shape;606;p39">
            <a:extLst>
              <a:ext uri="{FF2B5EF4-FFF2-40B4-BE49-F238E27FC236}">
                <a16:creationId xmlns:a16="http://schemas.microsoft.com/office/drawing/2014/main" id="{D61831EA-C1A2-A74D-88D4-9FBA949E5F3D}"/>
              </a:ext>
            </a:extLst>
          </p:cNvPr>
          <p:cNvSpPr/>
          <p:nvPr/>
        </p:nvSpPr>
        <p:spPr>
          <a:xfrm>
            <a:off x="9538795" y="2036461"/>
            <a:ext cx="1129205" cy="932978"/>
          </a:xfrm>
          <a:custGeom>
            <a:avLst/>
            <a:gdLst/>
            <a:ahLst/>
            <a:cxnLst/>
            <a:rect l="l" t="t" r="r" b="b"/>
            <a:pathLst>
              <a:path w="16266" h="14215" extrusionOk="0">
                <a:moveTo>
                  <a:pt x="8597" y="4397"/>
                </a:moveTo>
                <a:lnTo>
                  <a:pt x="8719" y="4421"/>
                </a:lnTo>
                <a:lnTo>
                  <a:pt x="8866" y="4445"/>
                </a:lnTo>
                <a:lnTo>
                  <a:pt x="8988" y="4519"/>
                </a:lnTo>
                <a:lnTo>
                  <a:pt x="9085" y="4616"/>
                </a:lnTo>
                <a:lnTo>
                  <a:pt x="9159" y="4714"/>
                </a:lnTo>
                <a:lnTo>
                  <a:pt x="9208" y="4836"/>
                </a:lnTo>
                <a:lnTo>
                  <a:pt x="9232" y="4958"/>
                </a:lnTo>
                <a:lnTo>
                  <a:pt x="9256" y="5105"/>
                </a:lnTo>
                <a:lnTo>
                  <a:pt x="8963" y="8939"/>
                </a:lnTo>
                <a:lnTo>
                  <a:pt x="8939" y="9086"/>
                </a:lnTo>
                <a:lnTo>
                  <a:pt x="8890" y="9232"/>
                </a:lnTo>
                <a:lnTo>
                  <a:pt x="8817" y="9330"/>
                </a:lnTo>
                <a:lnTo>
                  <a:pt x="8719" y="9452"/>
                </a:lnTo>
                <a:lnTo>
                  <a:pt x="8597" y="9525"/>
                </a:lnTo>
                <a:lnTo>
                  <a:pt x="8475" y="9599"/>
                </a:lnTo>
                <a:lnTo>
                  <a:pt x="8353" y="9648"/>
                </a:lnTo>
                <a:lnTo>
                  <a:pt x="7913" y="9648"/>
                </a:lnTo>
                <a:lnTo>
                  <a:pt x="7791" y="9599"/>
                </a:lnTo>
                <a:lnTo>
                  <a:pt x="7669" y="9525"/>
                </a:lnTo>
                <a:lnTo>
                  <a:pt x="7547" y="9452"/>
                </a:lnTo>
                <a:lnTo>
                  <a:pt x="7449" y="9330"/>
                </a:lnTo>
                <a:lnTo>
                  <a:pt x="7376" y="9232"/>
                </a:lnTo>
                <a:lnTo>
                  <a:pt x="7327" y="9086"/>
                </a:lnTo>
                <a:lnTo>
                  <a:pt x="7303" y="8939"/>
                </a:lnTo>
                <a:lnTo>
                  <a:pt x="7010" y="5105"/>
                </a:lnTo>
                <a:lnTo>
                  <a:pt x="7034" y="4958"/>
                </a:lnTo>
                <a:lnTo>
                  <a:pt x="7058" y="4836"/>
                </a:lnTo>
                <a:lnTo>
                  <a:pt x="7107" y="4714"/>
                </a:lnTo>
                <a:lnTo>
                  <a:pt x="7180" y="4616"/>
                </a:lnTo>
                <a:lnTo>
                  <a:pt x="7278" y="4519"/>
                </a:lnTo>
                <a:lnTo>
                  <a:pt x="7400" y="4445"/>
                </a:lnTo>
                <a:lnTo>
                  <a:pt x="7547" y="4421"/>
                </a:lnTo>
                <a:lnTo>
                  <a:pt x="7669" y="4397"/>
                </a:lnTo>
                <a:close/>
                <a:moveTo>
                  <a:pt x="8133" y="10429"/>
                </a:moveTo>
                <a:lnTo>
                  <a:pt x="8328" y="10454"/>
                </a:lnTo>
                <a:lnTo>
                  <a:pt x="8499" y="10502"/>
                </a:lnTo>
                <a:lnTo>
                  <a:pt x="8670" y="10600"/>
                </a:lnTo>
                <a:lnTo>
                  <a:pt x="8817" y="10722"/>
                </a:lnTo>
                <a:lnTo>
                  <a:pt x="8939" y="10869"/>
                </a:lnTo>
                <a:lnTo>
                  <a:pt x="9037" y="11040"/>
                </a:lnTo>
                <a:lnTo>
                  <a:pt x="9085" y="11211"/>
                </a:lnTo>
                <a:lnTo>
                  <a:pt x="9110" y="11406"/>
                </a:lnTo>
                <a:lnTo>
                  <a:pt x="9085" y="11601"/>
                </a:lnTo>
                <a:lnTo>
                  <a:pt x="9037" y="11797"/>
                </a:lnTo>
                <a:lnTo>
                  <a:pt x="8939" y="11943"/>
                </a:lnTo>
                <a:lnTo>
                  <a:pt x="8817" y="12090"/>
                </a:lnTo>
                <a:lnTo>
                  <a:pt x="8670" y="12212"/>
                </a:lnTo>
                <a:lnTo>
                  <a:pt x="8499" y="12310"/>
                </a:lnTo>
                <a:lnTo>
                  <a:pt x="8328" y="12359"/>
                </a:lnTo>
                <a:lnTo>
                  <a:pt x="8133" y="12383"/>
                </a:lnTo>
                <a:lnTo>
                  <a:pt x="7938" y="12359"/>
                </a:lnTo>
                <a:lnTo>
                  <a:pt x="7742" y="12310"/>
                </a:lnTo>
                <a:lnTo>
                  <a:pt x="7596" y="12212"/>
                </a:lnTo>
                <a:lnTo>
                  <a:pt x="7449" y="12090"/>
                </a:lnTo>
                <a:lnTo>
                  <a:pt x="7327" y="11943"/>
                </a:lnTo>
                <a:lnTo>
                  <a:pt x="7229" y="11797"/>
                </a:lnTo>
                <a:lnTo>
                  <a:pt x="7180" y="11601"/>
                </a:lnTo>
                <a:lnTo>
                  <a:pt x="7156" y="11406"/>
                </a:lnTo>
                <a:lnTo>
                  <a:pt x="7180" y="11211"/>
                </a:lnTo>
                <a:lnTo>
                  <a:pt x="7229" y="11040"/>
                </a:lnTo>
                <a:lnTo>
                  <a:pt x="7327" y="10869"/>
                </a:lnTo>
                <a:lnTo>
                  <a:pt x="7449" y="10722"/>
                </a:lnTo>
                <a:lnTo>
                  <a:pt x="7596" y="10600"/>
                </a:lnTo>
                <a:lnTo>
                  <a:pt x="7742" y="10502"/>
                </a:lnTo>
                <a:lnTo>
                  <a:pt x="7938" y="10454"/>
                </a:lnTo>
                <a:lnTo>
                  <a:pt x="8133" y="10429"/>
                </a:lnTo>
                <a:close/>
                <a:moveTo>
                  <a:pt x="7986" y="0"/>
                </a:moveTo>
                <a:lnTo>
                  <a:pt x="7864" y="25"/>
                </a:lnTo>
                <a:lnTo>
                  <a:pt x="7742" y="74"/>
                </a:lnTo>
                <a:lnTo>
                  <a:pt x="7620" y="123"/>
                </a:lnTo>
                <a:lnTo>
                  <a:pt x="7522" y="196"/>
                </a:lnTo>
                <a:lnTo>
                  <a:pt x="7425" y="294"/>
                </a:lnTo>
                <a:lnTo>
                  <a:pt x="7327" y="391"/>
                </a:lnTo>
                <a:lnTo>
                  <a:pt x="7254" y="489"/>
                </a:lnTo>
                <a:lnTo>
                  <a:pt x="147" y="12700"/>
                </a:lnTo>
                <a:lnTo>
                  <a:pt x="73" y="12823"/>
                </a:lnTo>
                <a:lnTo>
                  <a:pt x="25" y="12945"/>
                </a:lnTo>
                <a:lnTo>
                  <a:pt x="0" y="13067"/>
                </a:lnTo>
                <a:lnTo>
                  <a:pt x="0" y="13213"/>
                </a:lnTo>
                <a:lnTo>
                  <a:pt x="0" y="13335"/>
                </a:lnTo>
                <a:lnTo>
                  <a:pt x="25" y="13458"/>
                </a:lnTo>
                <a:lnTo>
                  <a:pt x="73" y="13604"/>
                </a:lnTo>
                <a:lnTo>
                  <a:pt x="147" y="13726"/>
                </a:lnTo>
                <a:lnTo>
                  <a:pt x="220" y="13824"/>
                </a:lnTo>
                <a:lnTo>
                  <a:pt x="293" y="13922"/>
                </a:lnTo>
                <a:lnTo>
                  <a:pt x="391" y="14019"/>
                </a:lnTo>
                <a:lnTo>
                  <a:pt x="513" y="14093"/>
                </a:lnTo>
                <a:lnTo>
                  <a:pt x="635" y="14141"/>
                </a:lnTo>
                <a:lnTo>
                  <a:pt x="757" y="14190"/>
                </a:lnTo>
                <a:lnTo>
                  <a:pt x="879" y="14215"/>
                </a:lnTo>
                <a:lnTo>
                  <a:pt x="15387" y="14215"/>
                </a:lnTo>
                <a:lnTo>
                  <a:pt x="15509" y="14190"/>
                </a:lnTo>
                <a:lnTo>
                  <a:pt x="15631" y="14141"/>
                </a:lnTo>
                <a:lnTo>
                  <a:pt x="15753" y="14093"/>
                </a:lnTo>
                <a:lnTo>
                  <a:pt x="15875" y="14019"/>
                </a:lnTo>
                <a:lnTo>
                  <a:pt x="15973" y="13922"/>
                </a:lnTo>
                <a:lnTo>
                  <a:pt x="16046" y="13824"/>
                </a:lnTo>
                <a:lnTo>
                  <a:pt x="16119" y="13726"/>
                </a:lnTo>
                <a:lnTo>
                  <a:pt x="16193" y="13604"/>
                </a:lnTo>
                <a:lnTo>
                  <a:pt x="16241" y="13458"/>
                </a:lnTo>
                <a:lnTo>
                  <a:pt x="16266" y="13335"/>
                </a:lnTo>
                <a:lnTo>
                  <a:pt x="16266" y="13213"/>
                </a:lnTo>
                <a:lnTo>
                  <a:pt x="16266" y="13067"/>
                </a:lnTo>
                <a:lnTo>
                  <a:pt x="16241" y="12945"/>
                </a:lnTo>
                <a:lnTo>
                  <a:pt x="16193" y="12823"/>
                </a:lnTo>
                <a:lnTo>
                  <a:pt x="16119" y="12700"/>
                </a:lnTo>
                <a:lnTo>
                  <a:pt x="9012" y="489"/>
                </a:lnTo>
                <a:lnTo>
                  <a:pt x="8939" y="391"/>
                </a:lnTo>
                <a:lnTo>
                  <a:pt x="8841" y="294"/>
                </a:lnTo>
                <a:lnTo>
                  <a:pt x="8744" y="196"/>
                </a:lnTo>
                <a:lnTo>
                  <a:pt x="8646" y="123"/>
                </a:lnTo>
                <a:lnTo>
                  <a:pt x="8524" y="74"/>
                </a:lnTo>
                <a:lnTo>
                  <a:pt x="8402" y="25"/>
                </a:lnTo>
                <a:lnTo>
                  <a:pt x="8255" y="0"/>
                </a:lnTo>
                <a:close/>
              </a:path>
            </a:pathLst>
          </a:custGeom>
          <a:solidFill>
            <a:schemeClr val="bg2">
              <a:lumMod val="1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15D41D3-2A41-384F-8CF7-F803B587F3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3602" y="178092"/>
            <a:ext cx="964174" cy="642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213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5E19555-9B84-254E-9FEC-1E9B111CD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075" y="356672"/>
            <a:ext cx="7669213" cy="492443"/>
          </a:xfrm>
        </p:spPr>
        <p:txBody>
          <a:bodyPr/>
          <a:lstStyle/>
          <a:p>
            <a:r>
              <a:rPr lang="en-GB" sz="3200" dirty="0">
                <a:solidFill>
                  <a:schemeClr val="bg2">
                    <a:lumMod val="10000"/>
                  </a:schemeClr>
                </a:solidFill>
              </a:rPr>
              <a:t>Data Quality &amp; Cleansing Process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AE80B2-78D6-CB41-987F-03CEC0A32C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1073" y="907914"/>
            <a:ext cx="10161133" cy="307777"/>
          </a:xfrm>
        </p:spPr>
        <p:txBody>
          <a:bodyPr/>
          <a:lstStyle/>
          <a:p>
            <a:r>
              <a:rPr lang="en-GB" sz="2000" dirty="0"/>
              <a:t>Extremely unorganized Data with large amounts of Missing Valu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5D354E-9B9B-D841-A8DD-A2D1C11068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B76A6F7-0816-412C-B847-14B91D1FF33F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1E81AF-312C-F944-ABD3-FBDE76D46B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3602" y="178092"/>
            <a:ext cx="964174" cy="64278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F342B18-1FE2-E54D-BE86-0009D2BCFA2F}"/>
              </a:ext>
            </a:extLst>
          </p:cNvPr>
          <p:cNvSpPr/>
          <p:nvPr/>
        </p:nvSpPr>
        <p:spPr>
          <a:xfrm>
            <a:off x="990600" y="1510086"/>
            <a:ext cx="11199813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plication 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stionnaire </a:t>
            </a:r>
            <a:r>
              <a:rPr lang="de-DE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data is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luted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 not maintained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ilure of Combinations of assigning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ederal_entity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o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spital_code</a:t>
            </a:r>
            <a:endParaRPr lang="en-US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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is could be combined by using one choice for: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ederal_entity</a:t>
            </a:r>
            <a:endParaRPr lang="en-US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ministrative_entity</a:t>
            </a:r>
            <a:endParaRPr lang="en-US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spital_code</a:t>
            </a:r>
            <a:endParaRPr lang="en-US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spital_name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as best option)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13913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5E19555-9B84-254E-9FEC-1E9B111CD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075" y="356672"/>
            <a:ext cx="7669213" cy="492443"/>
          </a:xfrm>
        </p:spPr>
        <p:txBody>
          <a:bodyPr/>
          <a:lstStyle/>
          <a:p>
            <a:r>
              <a:rPr lang="en-GB" sz="3200" dirty="0">
                <a:solidFill>
                  <a:schemeClr val="bg2">
                    <a:lumMod val="10000"/>
                  </a:schemeClr>
                </a:solidFill>
              </a:rPr>
              <a:t>The Dashboar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AE80B2-78D6-CB41-987F-03CEC0A32C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1073" y="907914"/>
            <a:ext cx="10334625" cy="307777"/>
          </a:xfrm>
        </p:spPr>
        <p:txBody>
          <a:bodyPr/>
          <a:lstStyle/>
          <a:p>
            <a:r>
              <a:rPr lang="en-GB" sz="2000" dirty="0"/>
              <a:t>Focus on informing the General Public to provide Brief Dat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5D354E-9B9B-D841-A8DD-A2D1C11068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B76A6F7-0816-412C-B847-14B91D1FF33F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E5FF211-D19B-3847-A1EA-4AD38906D9E5}"/>
              </a:ext>
            </a:extLst>
          </p:cNvPr>
          <p:cNvSpPr/>
          <p:nvPr/>
        </p:nvSpPr>
        <p:spPr>
          <a:xfrm>
            <a:off x="990600" y="1510086"/>
            <a:ext cx="1119981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9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RRR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C24B5DFE-7FC5-8949-B69B-F17238A07E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3602" y="178092"/>
            <a:ext cx="964174" cy="642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6109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5E19555-9B84-254E-9FEC-1E9B111CD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075" y="356672"/>
            <a:ext cx="7669213" cy="492443"/>
          </a:xfrm>
        </p:spPr>
        <p:txBody>
          <a:bodyPr/>
          <a:lstStyle/>
          <a:p>
            <a:r>
              <a:rPr lang="en-GB" sz="3200" dirty="0">
                <a:solidFill>
                  <a:schemeClr val="bg2">
                    <a:lumMod val="10000"/>
                  </a:schemeClr>
                </a:solidFill>
              </a:rPr>
              <a:t>Next Step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AE80B2-78D6-CB41-987F-03CEC0A32C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1073" y="907914"/>
            <a:ext cx="10564118" cy="307777"/>
          </a:xfrm>
        </p:spPr>
        <p:txBody>
          <a:bodyPr/>
          <a:lstStyle/>
          <a:p>
            <a:r>
              <a:rPr lang="en-GB" sz="2000" dirty="0"/>
              <a:t>Improve the Visual Present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5D354E-9B9B-D841-A8DD-A2D1C11068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B76A6F7-0816-412C-B847-14B91D1FF33F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C4D8AF-6E35-C546-9393-8E1A1F6B47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3602" y="178092"/>
            <a:ext cx="964174" cy="64278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538C00E-B27A-4F49-A2D1-7B156094F4CE}"/>
              </a:ext>
            </a:extLst>
          </p:cNvPr>
          <p:cNvSpPr/>
          <p:nvPr/>
        </p:nvSpPr>
        <p:spPr>
          <a:xfrm>
            <a:off x="990600" y="1510086"/>
            <a:ext cx="1119981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marR="0" lvl="0" indent="-51435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rove Data quality</a:t>
            </a:r>
          </a:p>
          <a:p>
            <a:pPr marL="514350" marR="0" lvl="0" indent="-51435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just Questionnaire</a:t>
            </a:r>
          </a:p>
          <a:p>
            <a:pPr marL="514350" marR="0" lvl="0" indent="-51435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rove the Visuals in the Dashboard </a:t>
            </a:r>
          </a:p>
          <a:p>
            <a:pPr marL="514350" marR="0" lvl="0" indent="-51435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inuously asses and iteratively improve the usability</a:t>
            </a:r>
          </a:p>
          <a:p>
            <a:pPr marL="514350" marR="0" lvl="0" indent="-51435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valuate how the solution helps the public and press</a:t>
            </a:r>
          </a:p>
        </p:txBody>
      </p:sp>
    </p:spTree>
    <p:extLst>
      <p:ext uri="{BB962C8B-B14F-4D97-AF65-F5344CB8AC3E}">
        <p14:creationId xmlns:p14="http://schemas.microsoft.com/office/powerpoint/2010/main" val="12187770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81768" y="2650209"/>
            <a:ext cx="7157418" cy="3734439"/>
          </a:xfrm>
          <a:prstGeom prst="rect">
            <a:avLst/>
          </a:prstGeom>
          <a:solidFill>
            <a:srgbClr val="002060">
              <a:alpha val="64000"/>
            </a:srgb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600" dirty="0"/>
              <a:t>THANK YOU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92668C-3095-4141-9327-F69CBEF31EC8}" type="slidenum">
              <a:rPr lang="en-CA" smtClean="0"/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4204125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B_master_2018_D">
  <a:themeElements>
    <a:clrScheme name="PAYBACK Colors 2018">
      <a:dk1>
        <a:srgbClr val="4B4B4D"/>
      </a:dk1>
      <a:lt1>
        <a:srgbClr val="FFFFFF"/>
      </a:lt1>
      <a:dk2>
        <a:srgbClr val="A5A5A6"/>
      </a:dk2>
      <a:lt2>
        <a:srgbClr val="D2D2D2"/>
      </a:lt2>
      <a:accent1>
        <a:srgbClr val="0046AA"/>
      </a:accent1>
      <a:accent2>
        <a:srgbClr val="7FA2D4"/>
      </a:accent2>
      <a:accent3>
        <a:srgbClr val="BFD1E9"/>
      </a:accent3>
      <a:accent4>
        <a:srgbClr val="E5ECF6"/>
      </a:accent4>
      <a:accent5>
        <a:srgbClr val="C1002B"/>
      </a:accent5>
      <a:accent6>
        <a:srgbClr val="7AB51D"/>
      </a:accent6>
      <a:hlink>
        <a:srgbClr val="151515"/>
      </a:hlink>
      <a:folHlink>
        <a:srgbClr val="4B4B4D"/>
      </a:folHlink>
    </a:clrScheme>
    <a:fontScheme name="PAYBACK">
      <a:majorFont>
        <a:latin typeface="PAYBACK"/>
        <a:ea typeface=""/>
        <a:cs typeface=""/>
      </a:majorFont>
      <a:minorFont>
        <a:latin typeface="PAYBACK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3"/>
          </a:solidFill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</a:txDef>
  </a:objectDefaults>
  <a:extraClrSchemeLst/>
  <a:custClrLst>
    <a:custClr name="Payback Yellow">
      <a:srgbClr val="FFDD00"/>
    </a:custClr>
    <a:custClr name="Payback Gold">
      <a:srgbClr val="CAA02A"/>
    </a:custClr>
  </a:custClrLst>
  <a:extLst>
    <a:ext uri="{05A4C25C-085E-4340-85A3-A5531E510DB2}">
      <thm15:themeFamily xmlns:thm15="http://schemas.microsoft.com/office/thememl/2012/main" name="PB_Template_E" id="{2E90B2AA-1A01-4260-B586-79C1630015C3}" vid="{687A66EB-DAD9-40FD-A1AC-434AF00A3A4F}"/>
    </a:ext>
  </a:extLst>
</a:theme>
</file>

<file path=ppt/theme/theme2.xml><?xml version="1.0" encoding="utf-8"?>
<a:theme xmlns:a="http://schemas.openxmlformats.org/drawingml/2006/main" name="Larissa">
  <a:themeElements>
    <a:clrScheme name="PAYBACK NEU_4">
      <a:dk1>
        <a:srgbClr val="4B4B4D"/>
      </a:dk1>
      <a:lt1>
        <a:srgbClr val="FFFFFF"/>
      </a:lt1>
      <a:dk2>
        <a:srgbClr val="A5A5A6"/>
      </a:dk2>
      <a:lt2>
        <a:srgbClr val="D2D2D2"/>
      </a:lt2>
      <a:accent1>
        <a:srgbClr val="0046AA"/>
      </a:accent1>
      <a:accent2>
        <a:srgbClr val="7FA2D4"/>
      </a:accent2>
      <a:accent3>
        <a:srgbClr val="BFD1E9"/>
      </a:accent3>
      <a:accent4>
        <a:srgbClr val="C1002B"/>
      </a:accent4>
      <a:accent5>
        <a:srgbClr val="7AB51D"/>
      </a:accent5>
      <a:accent6>
        <a:srgbClr val="FFDD00"/>
      </a:accent6>
      <a:hlink>
        <a:srgbClr val="151515"/>
      </a:hlink>
      <a:folHlink>
        <a:srgbClr val="4B4B4D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52</TotalTime>
  <Words>207</Words>
  <Application>Microsoft Macintosh PowerPoint</Application>
  <PresentationFormat>Custom</PresentationFormat>
  <Paragraphs>51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PAYBACK</vt:lpstr>
      <vt:lpstr>PAYBACK Light</vt:lpstr>
      <vt:lpstr>Calibri</vt:lpstr>
      <vt:lpstr>Arial</vt:lpstr>
      <vt:lpstr>Wingdings</vt:lpstr>
      <vt:lpstr>Courier New</vt:lpstr>
      <vt:lpstr>Open Sans</vt:lpstr>
      <vt:lpstr>PB_master_2018_D</vt:lpstr>
      <vt:lpstr>think-cell Slide</vt:lpstr>
      <vt:lpstr>PowerPoint Presentation</vt:lpstr>
      <vt:lpstr>Situation</vt:lpstr>
      <vt:lpstr>Data Quality &amp; Cleansing Process </vt:lpstr>
      <vt:lpstr>The Dashboard</vt:lpstr>
      <vt:lpstr>Next Steps</vt:lpstr>
      <vt:lpstr>PowerPoint Presentation</vt:lpstr>
    </vt:vector>
  </TitlesOfParts>
  <Company>PAYBACK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eniz Guercan</dc:creator>
  <cp:lastModifiedBy>Deniz Gurcan</cp:lastModifiedBy>
  <cp:revision>76</cp:revision>
  <cp:lastPrinted>2017-12-21T16:10:56Z</cp:lastPrinted>
  <dcterms:created xsi:type="dcterms:W3CDTF">2019-04-17T20:56:18Z</dcterms:created>
  <dcterms:modified xsi:type="dcterms:W3CDTF">2020-02-17T01:10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Btmpl102017">
    <vt:bool>true</vt:bool>
  </property>
</Properties>
</file>